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heme/theme3.xml" ContentType="application/vnd.openxmlformats-officedocument.theme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heme/theme4.xml" ContentType="application/vnd.openxmlformats-officedocument.theme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notesSlides/notesSlide1.xml" ContentType="application/vnd.openxmlformats-officedocument.presentationml.notesSlide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786" r:id="rId1"/>
    <p:sldMasterId id="2147483816" r:id="rId2"/>
  </p:sldMasterIdLst>
  <p:notesMasterIdLst>
    <p:notesMasterId r:id="rId27"/>
  </p:notesMasterIdLst>
  <p:handoutMasterIdLst>
    <p:handoutMasterId r:id="rId28"/>
  </p:handoutMasterIdLst>
  <p:sldIdLst>
    <p:sldId id="267" r:id="rId3"/>
    <p:sldId id="260" r:id="rId4"/>
    <p:sldId id="3895" r:id="rId5"/>
    <p:sldId id="3896" r:id="rId6"/>
    <p:sldId id="3843" r:id="rId7"/>
    <p:sldId id="257" r:id="rId8"/>
    <p:sldId id="3907" r:id="rId9"/>
    <p:sldId id="3903" r:id="rId10"/>
    <p:sldId id="265" r:id="rId11"/>
    <p:sldId id="3904" r:id="rId12"/>
    <p:sldId id="3905" r:id="rId13"/>
    <p:sldId id="3906" r:id="rId14"/>
    <p:sldId id="3844" r:id="rId15"/>
    <p:sldId id="3909" r:id="rId16"/>
    <p:sldId id="3908" r:id="rId17"/>
    <p:sldId id="3910" r:id="rId18"/>
    <p:sldId id="3912" r:id="rId19"/>
    <p:sldId id="3911" r:id="rId20"/>
    <p:sldId id="3913" r:id="rId21"/>
    <p:sldId id="3914" r:id="rId22"/>
    <p:sldId id="3915" r:id="rId23"/>
    <p:sldId id="3902" r:id="rId24"/>
    <p:sldId id="3901" r:id="rId25"/>
    <p:sldId id="3767" r:id="rId26"/>
  </p:sldIdLst>
  <p:sldSz cx="12192000" cy="6858000"/>
  <p:notesSz cx="6858000" cy="9144000"/>
  <p:embeddedFontLst>
    <p:embeddedFont>
      <p:font typeface="Univers" panose="020B0703030502030204" pitchFamily="34" charset="0"/>
      <p:regular r:id="rId29"/>
      <p:bold r:id="rId30"/>
    </p:embeddedFont>
    <p:embeddedFont>
      <p:font typeface="Univers Light" panose="020B0403020202020204" pitchFamily="34" charset="0"/>
      <p:regular r:id="rId31"/>
    </p:embeddedFont>
    <p:embeddedFont>
      <p:font typeface="Univers Next W1G" panose="020B0503030202020203" pitchFamily="34" charset="0"/>
      <p:regular r:id="rId32"/>
    </p:embeddedFont>
  </p:embeddedFontLst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or" initials="A" lastIdx="17" clrIdx="6"/>
  <p:cmAuthor id="8" name="Christina Drimmel" initials="CD" lastIdx="2" clrIdx="7">
    <p:extLst>
      <p:ext uri="{19B8F6BF-5375-455C-9EA6-DF929625EA0E}">
        <p15:presenceInfo xmlns:p15="http://schemas.microsoft.com/office/powerpoint/2012/main" userId="Christina Drimm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clrMru>
    <a:srgbClr val="E52027"/>
    <a:srgbClr val="14285C"/>
    <a:srgbClr val="2E3F68"/>
    <a:srgbClr val="FFFFFF"/>
    <a:srgbClr val="EAEAEC"/>
    <a:srgbClr val="CACACF"/>
    <a:srgbClr val="73747C"/>
    <a:srgbClr val="9495A0"/>
    <a:srgbClr val="DADADE"/>
    <a:srgbClr val="BFBF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93D81CF-94F2-401A-BA57-92F5A7B2D0C5}">
  <a:tblStyle styleId="{793D81CF-94F2-401A-BA57-92F5A7B2D0C5}" styleName="Střední sty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87" autoAdjust="0"/>
    <p:restoredTop sz="95915" autoAdjust="0"/>
  </p:normalViewPr>
  <p:slideViewPr>
    <p:cSldViewPr snapToGrid="0" showGuides="1">
      <p:cViewPr varScale="1">
        <p:scale>
          <a:sx n="95" d="100"/>
          <a:sy n="95" d="100"/>
        </p:scale>
        <p:origin x="184" y="68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278"/>
    </p:cViewPr>
  </p:sorterViewPr>
  <p:notesViewPr>
    <p:cSldViewPr snapToGrid="0" showGuides="1">
      <p:cViewPr varScale="1">
        <p:scale>
          <a:sx n="89" d="100"/>
          <a:sy n="89" d="100"/>
        </p:scale>
        <p:origin x="323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4.fntdata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3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2" Type="http://schemas.openxmlformats.org/officeDocument/2006/relationships/tags" Target="../tags/tag542.xml"/><Relationship Id="rId1" Type="http://schemas.openxmlformats.org/officeDocument/2006/relationships/theme" Target="../theme/theme4.xml"/><Relationship Id="rId5" Type="http://schemas.openxmlformats.org/officeDocument/2006/relationships/tags" Target="../tags/tag545.xml"/><Relationship Id="rId4" Type="http://schemas.openxmlformats.org/officeDocument/2006/relationships/tags" Target="../tags/tag54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6FBC18-C741-454B-9D95-0F41424135E5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1838F0-BF42-400C-8F75-3486C2D0A107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A29F3B-B952-40DE-BE89-65C83536051A}" type="datetimeFigureOut">
              <a:rPr lang="en-GB" sz="1000" smtClean="0"/>
              <a:t>09/04/2024</a:t>
            </a:fld>
            <a:endParaRPr lang="en-GB" sz="1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448991-F7CB-425C-935F-D06A23A87B0F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0326F6-ECCC-41AD-AE42-3AB66B3E242B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488CFA-4AE6-4BF5-ADB0-E1DFA5E5776F}" type="slidenum">
              <a:rPr lang="en-GB" sz="1000" smtClean="0"/>
              <a:t>‹#›</a:t>
            </a:fld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5224528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2" Type="http://schemas.openxmlformats.org/officeDocument/2006/relationships/tags" Target="../tags/tag536.xml"/><Relationship Id="rId1" Type="http://schemas.openxmlformats.org/officeDocument/2006/relationships/theme" Target="../theme/theme3.xml"/><Relationship Id="rId6" Type="http://schemas.openxmlformats.org/officeDocument/2006/relationships/tags" Target="../tags/tag540.xml"/><Relationship Id="rId5" Type="http://schemas.openxmlformats.org/officeDocument/2006/relationships/tags" Target="../tags/tag539.xml"/><Relationship Id="rId4" Type="http://schemas.openxmlformats.org/officeDocument/2006/relationships/tags" Target="../tags/tag53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en-GB" dirty="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8080AE46-568A-451E-BB74-83416B0758A3}" type="datetimeFigureOut">
              <a:rPr lang="en-GB" smtClean="0"/>
              <a:pPr/>
              <a:t>09/04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GB" dirty="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52B4B691-73F8-4E19-8F3E-B1D86C046E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8991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50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53.xml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5" Type="http://schemas.openxmlformats.org/officeDocument/2006/relationships/slide" Target="../slides/slide24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fld id="{FFC36299-4356-4371-9FCE-6B0F346BADE3}" type="slidenum">
              <a:rPr lang="en-GB" altLang="de-DE" smtClean="0"/>
              <a:pPr/>
              <a:t>1</a:t>
            </a:fld>
            <a:endParaRPr lang="en-GB" altLang="de-DE" dirty="0"/>
          </a:p>
        </p:txBody>
      </p:sp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  <p:custDataLst>
              <p:tags r:id="rId2"/>
            </p:custDataLst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  <p:custDataLst>
              <p:tags r:id="rId3"/>
            </p:custDataLst>
          </p:nvPr>
        </p:nvSpPr>
        <p:spPr/>
        <p:txBody>
          <a:bodyPr/>
          <a:lstStyle/>
          <a:p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2128886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B4B691-73F8-4E19-8F3E-B1D86C046E3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685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52B4B691-73F8-4E19-8F3E-B1D86C046E3C}" type="slidenum">
              <a:rPr/>
              <a:pPr algn="l" rtl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463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52B4B691-73F8-4E19-8F3E-B1D86C046E3C}" type="slidenum">
              <a:rPr/>
              <a:pPr algn="l" rtl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40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52B4B691-73F8-4E19-8F3E-B1D86C046E3C}" type="slidenum">
              <a:r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9804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B4B691-73F8-4E19-8F3E-B1D86C046E3C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685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52B4B691-73F8-4E19-8F3E-B1D86C046E3C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032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2" Type="http://schemas.openxmlformats.org/officeDocument/2006/relationships/tags" Target="../tags/tag131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tags" Target="../tags/tag157.xml"/><Relationship Id="rId18" Type="http://schemas.openxmlformats.org/officeDocument/2006/relationships/tags" Target="../tags/tag162.xml"/><Relationship Id="rId3" Type="http://schemas.openxmlformats.org/officeDocument/2006/relationships/tags" Target="../tags/tag147.xml"/><Relationship Id="rId21" Type="http://schemas.openxmlformats.org/officeDocument/2006/relationships/tags" Target="../tags/tag165.xml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17" Type="http://schemas.openxmlformats.org/officeDocument/2006/relationships/tags" Target="../tags/tag161.xml"/><Relationship Id="rId2" Type="http://schemas.openxmlformats.org/officeDocument/2006/relationships/tags" Target="../tags/tag146.xml"/><Relationship Id="rId16" Type="http://schemas.openxmlformats.org/officeDocument/2006/relationships/tags" Target="../tags/tag160.xml"/><Relationship Id="rId20" Type="http://schemas.openxmlformats.org/officeDocument/2006/relationships/tags" Target="../tags/tag164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5" Type="http://schemas.openxmlformats.org/officeDocument/2006/relationships/tags" Target="../tags/tag149.xml"/><Relationship Id="rId15" Type="http://schemas.openxmlformats.org/officeDocument/2006/relationships/tags" Target="../tags/tag159.xml"/><Relationship Id="rId10" Type="http://schemas.openxmlformats.org/officeDocument/2006/relationships/tags" Target="../tags/tag154.xml"/><Relationship Id="rId19" Type="http://schemas.openxmlformats.org/officeDocument/2006/relationships/tags" Target="../tags/tag163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tags" Target="../tags/tag158.xml"/><Relationship Id="rId22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5" Type="http://schemas.openxmlformats.org/officeDocument/2006/relationships/tags" Target="../tags/tag186.xml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image" Target="../media/image5.png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slideMaster" Target="../slideMasters/slideMaster1.xml"/><Relationship Id="rId8" Type="http://schemas.openxmlformats.org/officeDocument/2006/relationships/tags" Target="../tags/tag22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18" Type="http://schemas.openxmlformats.org/officeDocument/2006/relationships/tags" Target="../tags/tag210.xml"/><Relationship Id="rId26" Type="http://schemas.openxmlformats.org/officeDocument/2006/relationships/image" Target="../media/image6.png"/><Relationship Id="rId3" Type="http://schemas.openxmlformats.org/officeDocument/2006/relationships/tags" Target="../tags/tag195.xml"/><Relationship Id="rId21" Type="http://schemas.openxmlformats.org/officeDocument/2006/relationships/tags" Target="../tags/tag213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17" Type="http://schemas.openxmlformats.org/officeDocument/2006/relationships/tags" Target="../tags/tag209.xml"/><Relationship Id="rId25" Type="http://schemas.openxmlformats.org/officeDocument/2006/relationships/slideMaster" Target="../slideMasters/slideMaster1.xml"/><Relationship Id="rId2" Type="http://schemas.openxmlformats.org/officeDocument/2006/relationships/tags" Target="../tags/tag194.xml"/><Relationship Id="rId16" Type="http://schemas.openxmlformats.org/officeDocument/2006/relationships/tags" Target="../tags/tag208.xml"/><Relationship Id="rId20" Type="http://schemas.openxmlformats.org/officeDocument/2006/relationships/tags" Target="../tags/tag212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24" Type="http://schemas.openxmlformats.org/officeDocument/2006/relationships/tags" Target="../tags/tag216.xml"/><Relationship Id="rId5" Type="http://schemas.openxmlformats.org/officeDocument/2006/relationships/tags" Target="../tags/tag197.xml"/><Relationship Id="rId15" Type="http://schemas.openxmlformats.org/officeDocument/2006/relationships/tags" Target="../tags/tag207.xml"/><Relationship Id="rId23" Type="http://schemas.openxmlformats.org/officeDocument/2006/relationships/tags" Target="../tags/tag215.xml"/><Relationship Id="rId10" Type="http://schemas.openxmlformats.org/officeDocument/2006/relationships/tags" Target="../tags/tag202.xml"/><Relationship Id="rId19" Type="http://schemas.openxmlformats.org/officeDocument/2006/relationships/tags" Target="../tags/tag211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tags" Target="../tags/tag206.xml"/><Relationship Id="rId22" Type="http://schemas.openxmlformats.org/officeDocument/2006/relationships/tags" Target="../tags/tag214.xml"/><Relationship Id="rId27" Type="http://schemas.openxmlformats.org/officeDocument/2006/relationships/image" Target="../media/image7.sv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tags" Target="../tags/tag222.xml"/><Relationship Id="rId5" Type="http://schemas.openxmlformats.org/officeDocument/2006/relationships/tags" Target="../tags/tag22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20.xml"/><Relationship Id="rId9" Type="http://schemas.openxmlformats.org/officeDocument/2006/relationships/tags" Target="../tags/tag22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5" Type="http://schemas.openxmlformats.org/officeDocument/2006/relationships/tags" Target="../tags/tag230.xml"/><Relationship Id="rId4" Type="http://schemas.openxmlformats.org/officeDocument/2006/relationships/tags" Target="../tags/tag229.xml"/><Relationship Id="rId9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5" Type="http://schemas.openxmlformats.org/officeDocument/2006/relationships/tags" Target="../tags/tag239.xml"/><Relationship Id="rId4" Type="http://schemas.openxmlformats.org/officeDocument/2006/relationships/tags" Target="../tags/tag238.xml"/><Relationship Id="rId9" Type="http://schemas.openxmlformats.org/officeDocument/2006/relationships/image" Target="../media/image4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5" Type="http://schemas.openxmlformats.org/officeDocument/2006/relationships/tags" Target="../tags/tag245.xml"/><Relationship Id="rId4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Layouts/_rels/slideLayout30.xml.rels><?xml version="1.0" encoding="UTF-8" standalone="yes"?>
<Relationships xmlns="http://schemas.openxmlformats.org/package/2006/relationships"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26" Type="http://schemas.openxmlformats.org/officeDocument/2006/relationships/tags" Target="../tags/tag279.xml"/><Relationship Id="rId3" Type="http://schemas.openxmlformats.org/officeDocument/2006/relationships/tags" Target="../tags/tag256.xml"/><Relationship Id="rId21" Type="http://schemas.openxmlformats.org/officeDocument/2006/relationships/tags" Target="../tags/tag274.xml"/><Relationship Id="rId34" Type="http://schemas.openxmlformats.org/officeDocument/2006/relationships/tags" Target="../tags/tag287.xml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5" Type="http://schemas.openxmlformats.org/officeDocument/2006/relationships/tags" Target="../tags/tag278.xml"/><Relationship Id="rId33" Type="http://schemas.openxmlformats.org/officeDocument/2006/relationships/tags" Target="../tags/tag286.xml"/><Relationship Id="rId2" Type="http://schemas.openxmlformats.org/officeDocument/2006/relationships/tags" Target="../tags/tag255.xml"/><Relationship Id="rId16" Type="http://schemas.openxmlformats.org/officeDocument/2006/relationships/tags" Target="../tags/tag269.xml"/><Relationship Id="rId20" Type="http://schemas.openxmlformats.org/officeDocument/2006/relationships/tags" Target="../tags/tag273.xml"/><Relationship Id="rId29" Type="http://schemas.openxmlformats.org/officeDocument/2006/relationships/tags" Target="../tags/tag282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tags" Target="../tags/tag264.xml"/><Relationship Id="rId24" Type="http://schemas.openxmlformats.org/officeDocument/2006/relationships/tags" Target="../tags/tag277.xml"/><Relationship Id="rId32" Type="http://schemas.openxmlformats.org/officeDocument/2006/relationships/tags" Target="../tags/tag285.xml"/><Relationship Id="rId5" Type="http://schemas.openxmlformats.org/officeDocument/2006/relationships/tags" Target="../tags/tag258.xml"/><Relationship Id="rId15" Type="http://schemas.openxmlformats.org/officeDocument/2006/relationships/tags" Target="../tags/tag268.xml"/><Relationship Id="rId23" Type="http://schemas.openxmlformats.org/officeDocument/2006/relationships/tags" Target="../tags/tag276.xml"/><Relationship Id="rId28" Type="http://schemas.openxmlformats.org/officeDocument/2006/relationships/tags" Target="../tags/tag281.xml"/><Relationship Id="rId36" Type="http://schemas.openxmlformats.org/officeDocument/2006/relationships/image" Target="../media/image5.png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31" Type="http://schemas.openxmlformats.org/officeDocument/2006/relationships/tags" Target="../tags/tag284.xml"/><Relationship Id="rId4" Type="http://schemas.openxmlformats.org/officeDocument/2006/relationships/tags" Target="../tags/tag257.xml"/><Relationship Id="rId9" Type="http://schemas.openxmlformats.org/officeDocument/2006/relationships/tags" Target="../tags/tag262.xml"/><Relationship Id="rId14" Type="http://schemas.openxmlformats.org/officeDocument/2006/relationships/tags" Target="../tags/tag267.xml"/><Relationship Id="rId22" Type="http://schemas.openxmlformats.org/officeDocument/2006/relationships/tags" Target="../tags/tag275.xml"/><Relationship Id="rId27" Type="http://schemas.openxmlformats.org/officeDocument/2006/relationships/tags" Target="../tags/tag280.xml"/><Relationship Id="rId30" Type="http://schemas.openxmlformats.org/officeDocument/2006/relationships/tags" Target="../tags/tag283.xml"/><Relationship Id="rId35" Type="http://schemas.openxmlformats.org/officeDocument/2006/relationships/slideMaster" Target="../slideMasters/slideMaster2.xml"/><Relationship Id="rId8" Type="http://schemas.openxmlformats.org/officeDocument/2006/relationships/tags" Target="../tags/tag26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13" Type="http://schemas.openxmlformats.org/officeDocument/2006/relationships/tags" Target="../tags/tag300.xml"/><Relationship Id="rId18" Type="http://schemas.openxmlformats.org/officeDocument/2006/relationships/tags" Target="../tags/tag305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tags" Target="../tags/tag299.xml"/><Relationship Id="rId17" Type="http://schemas.openxmlformats.org/officeDocument/2006/relationships/tags" Target="../tags/tag304.xml"/><Relationship Id="rId2" Type="http://schemas.openxmlformats.org/officeDocument/2006/relationships/tags" Target="../tags/tag289.xml"/><Relationship Id="rId16" Type="http://schemas.openxmlformats.org/officeDocument/2006/relationships/tags" Target="../tags/tag303.xml"/><Relationship Id="rId20" Type="http://schemas.openxmlformats.org/officeDocument/2006/relationships/slideMaster" Target="../slideMasters/slideMaster2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11" Type="http://schemas.openxmlformats.org/officeDocument/2006/relationships/tags" Target="../tags/tag298.xml"/><Relationship Id="rId5" Type="http://schemas.openxmlformats.org/officeDocument/2006/relationships/tags" Target="../tags/tag292.xml"/><Relationship Id="rId15" Type="http://schemas.openxmlformats.org/officeDocument/2006/relationships/tags" Target="../tags/tag302.xml"/><Relationship Id="rId10" Type="http://schemas.openxmlformats.org/officeDocument/2006/relationships/tags" Target="../tags/tag297.xml"/><Relationship Id="rId19" Type="http://schemas.openxmlformats.org/officeDocument/2006/relationships/tags" Target="../tags/tag306.xml"/><Relationship Id="rId4" Type="http://schemas.openxmlformats.org/officeDocument/2006/relationships/tags" Target="../tags/tag291.xml"/><Relationship Id="rId9" Type="http://schemas.openxmlformats.org/officeDocument/2006/relationships/tags" Target="../tags/tag296.xml"/><Relationship Id="rId14" Type="http://schemas.openxmlformats.org/officeDocument/2006/relationships/tags" Target="../tags/tag30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1.xml"/><Relationship Id="rId4" Type="http://schemas.openxmlformats.org/officeDocument/2006/relationships/tags" Target="../tags/tag31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6.xml"/><Relationship Id="rId4" Type="http://schemas.openxmlformats.org/officeDocument/2006/relationships/tags" Target="../tags/tag31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21.xml"/><Relationship Id="rId4" Type="http://schemas.openxmlformats.org/officeDocument/2006/relationships/tags" Target="../tags/tag32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26.xml"/><Relationship Id="rId4" Type="http://schemas.openxmlformats.org/officeDocument/2006/relationships/tags" Target="../tags/tag32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5" Type="http://schemas.openxmlformats.org/officeDocument/2006/relationships/tags" Target="../tags/tag331.xml"/><Relationship Id="rId4" Type="http://schemas.openxmlformats.org/officeDocument/2006/relationships/tags" Target="../tags/tag33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9.xml"/><Relationship Id="rId7" Type="http://schemas.openxmlformats.org/officeDocument/2006/relationships/tags" Target="../tags/tag343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5" Type="http://schemas.openxmlformats.org/officeDocument/2006/relationships/tags" Target="../tags/tag341.xml"/><Relationship Id="rId4" Type="http://schemas.openxmlformats.org/officeDocument/2006/relationships/tags" Target="../tags/tag340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5" Type="http://schemas.openxmlformats.org/officeDocument/2006/relationships/tags" Target="../tags/tag34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47.xml"/><Relationship Id="rId9" Type="http://schemas.openxmlformats.org/officeDocument/2006/relationships/tags" Target="../tags/tag35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55.xml"/><Relationship Id="rId7" Type="http://schemas.openxmlformats.org/officeDocument/2006/relationships/tags" Target="../tags/tag359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tags" Target="../tags/tag358.xml"/><Relationship Id="rId5" Type="http://schemas.openxmlformats.org/officeDocument/2006/relationships/tags" Target="../tags/tag357.xml"/><Relationship Id="rId4" Type="http://schemas.openxmlformats.org/officeDocument/2006/relationships/tags" Target="../tags/tag356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5" Type="http://schemas.openxmlformats.org/officeDocument/2006/relationships/tags" Target="../tags/tag364.xml"/><Relationship Id="rId4" Type="http://schemas.openxmlformats.org/officeDocument/2006/relationships/tags" Target="../tags/tag36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5" Type="http://schemas.openxmlformats.org/officeDocument/2006/relationships/tags" Target="../tags/tag371.xml"/><Relationship Id="rId4" Type="http://schemas.openxmlformats.org/officeDocument/2006/relationships/tags" Target="../tags/tag370.xml"/><Relationship Id="rId9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82.xml"/><Relationship Id="rId3" Type="http://schemas.openxmlformats.org/officeDocument/2006/relationships/tags" Target="../tags/tag377.xml"/><Relationship Id="rId7" Type="http://schemas.openxmlformats.org/officeDocument/2006/relationships/tags" Target="../tags/tag381.xml"/><Relationship Id="rId2" Type="http://schemas.openxmlformats.org/officeDocument/2006/relationships/tags" Target="../tags/tag376.xml"/><Relationship Id="rId1" Type="http://schemas.openxmlformats.org/officeDocument/2006/relationships/tags" Target="../tags/tag375.xml"/><Relationship Id="rId6" Type="http://schemas.openxmlformats.org/officeDocument/2006/relationships/tags" Target="../tags/tag380.xml"/><Relationship Id="rId5" Type="http://schemas.openxmlformats.org/officeDocument/2006/relationships/tags" Target="../tags/tag37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78.xml"/><Relationship Id="rId9" Type="http://schemas.openxmlformats.org/officeDocument/2006/relationships/tags" Target="../tags/tag38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8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tags" Target="../tags/tag389.xml"/><Relationship Id="rId5" Type="http://schemas.openxmlformats.org/officeDocument/2006/relationships/tags" Target="../tags/tag388.xml"/><Relationship Id="rId4" Type="http://schemas.openxmlformats.org/officeDocument/2006/relationships/tags" Target="../tags/tag387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97.xml"/><Relationship Id="rId3" Type="http://schemas.openxmlformats.org/officeDocument/2006/relationships/tags" Target="../tags/tag392.xml"/><Relationship Id="rId7" Type="http://schemas.openxmlformats.org/officeDocument/2006/relationships/tags" Target="../tags/tag396.xml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5" Type="http://schemas.openxmlformats.org/officeDocument/2006/relationships/tags" Target="../tags/tag394.xml"/><Relationship Id="rId4" Type="http://schemas.openxmlformats.org/officeDocument/2006/relationships/tags" Target="../tags/tag393.xml"/><Relationship Id="rId9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0.xml"/><Relationship Id="rId7" Type="http://schemas.openxmlformats.org/officeDocument/2006/relationships/tags" Target="../tags/tag404.xm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tags" Target="../tags/tag403.xml"/><Relationship Id="rId5" Type="http://schemas.openxmlformats.org/officeDocument/2006/relationships/tags" Target="../tags/tag402.xml"/><Relationship Id="rId4" Type="http://schemas.openxmlformats.org/officeDocument/2006/relationships/tags" Target="../tags/tag40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12.xml"/><Relationship Id="rId13" Type="http://schemas.openxmlformats.org/officeDocument/2006/relationships/tags" Target="../tags/tag417.xml"/><Relationship Id="rId3" Type="http://schemas.openxmlformats.org/officeDocument/2006/relationships/tags" Target="../tags/tag407.xml"/><Relationship Id="rId7" Type="http://schemas.openxmlformats.org/officeDocument/2006/relationships/tags" Target="../tags/tag411.xml"/><Relationship Id="rId12" Type="http://schemas.openxmlformats.org/officeDocument/2006/relationships/tags" Target="../tags/tag416.xml"/><Relationship Id="rId2" Type="http://schemas.openxmlformats.org/officeDocument/2006/relationships/tags" Target="../tags/tag406.xml"/><Relationship Id="rId16" Type="http://schemas.openxmlformats.org/officeDocument/2006/relationships/slideMaster" Target="../slideMasters/slideMaster2.xml"/><Relationship Id="rId1" Type="http://schemas.openxmlformats.org/officeDocument/2006/relationships/tags" Target="../tags/tag405.xml"/><Relationship Id="rId6" Type="http://schemas.openxmlformats.org/officeDocument/2006/relationships/tags" Target="../tags/tag410.xml"/><Relationship Id="rId11" Type="http://schemas.openxmlformats.org/officeDocument/2006/relationships/tags" Target="../tags/tag415.xml"/><Relationship Id="rId5" Type="http://schemas.openxmlformats.org/officeDocument/2006/relationships/tags" Target="../tags/tag409.xml"/><Relationship Id="rId15" Type="http://schemas.openxmlformats.org/officeDocument/2006/relationships/tags" Target="../tags/tag419.xml"/><Relationship Id="rId10" Type="http://schemas.openxmlformats.org/officeDocument/2006/relationships/tags" Target="../tags/tag414.xml"/><Relationship Id="rId4" Type="http://schemas.openxmlformats.org/officeDocument/2006/relationships/tags" Target="../tags/tag408.xml"/><Relationship Id="rId9" Type="http://schemas.openxmlformats.org/officeDocument/2006/relationships/tags" Target="../tags/tag413.xml"/><Relationship Id="rId14" Type="http://schemas.openxmlformats.org/officeDocument/2006/relationships/tags" Target="../tags/tag418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27.xml"/><Relationship Id="rId13" Type="http://schemas.openxmlformats.org/officeDocument/2006/relationships/tags" Target="../tags/tag432.xml"/><Relationship Id="rId18" Type="http://schemas.openxmlformats.org/officeDocument/2006/relationships/tags" Target="../tags/tag437.xml"/><Relationship Id="rId3" Type="http://schemas.openxmlformats.org/officeDocument/2006/relationships/tags" Target="../tags/tag422.xml"/><Relationship Id="rId21" Type="http://schemas.openxmlformats.org/officeDocument/2006/relationships/tags" Target="../tags/tag440.xml"/><Relationship Id="rId7" Type="http://schemas.openxmlformats.org/officeDocument/2006/relationships/tags" Target="../tags/tag426.xml"/><Relationship Id="rId12" Type="http://schemas.openxmlformats.org/officeDocument/2006/relationships/tags" Target="../tags/tag431.xml"/><Relationship Id="rId17" Type="http://schemas.openxmlformats.org/officeDocument/2006/relationships/tags" Target="../tags/tag436.xml"/><Relationship Id="rId2" Type="http://schemas.openxmlformats.org/officeDocument/2006/relationships/tags" Target="../tags/tag421.xml"/><Relationship Id="rId16" Type="http://schemas.openxmlformats.org/officeDocument/2006/relationships/tags" Target="../tags/tag435.xml"/><Relationship Id="rId20" Type="http://schemas.openxmlformats.org/officeDocument/2006/relationships/tags" Target="../tags/tag439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11" Type="http://schemas.openxmlformats.org/officeDocument/2006/relationships/tags" Target="../tags/tag430.xml"/><Relationship Id="rId5" Type="http://schemas.openxmlformats.org/officeDocument/2006/relationships/tags" Target="../tags/tag424.xml"/><Relationship Id="rId15" Type="http://schemas.openxmlformats.org/officeDocument/2006/relationships/tags" Target="../tags/tag434.xml"/><Relationship Id="rId10" Type="http://schemas.openxmlformats.org/officeDocument/2006/relationships/tags" Target="../tags/tag429.xml"/><Relationship Id="rId19" Type="http://schemas.openxmlformats.org/officeDocument/2006/relationships/tags" Target="../tags/tag438.xml"/><Relationship Id="rId4" Type="http://schemas.openxmlformats.org/officeDocument/2006/relationships/tags" Target="../tags/tag423.xml"/><Relationship Id="rId9" Type="http://schemas.openxmlformats.org/officeDocument/2006/relationships/tags" Target="../tags/tag428.xml"/><Relationship Id="rId14" Type="http://schemas.openxmlformats.org/officeDocument/2006/relationships/tags" Target="../tags/tag433.xml"/><Relationship Id="rId22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43.xml"/><Relationship Id="rId7" Type="http://schemas.openxmlformats.org/officeDocument/2006/relationships/tags" Target="../tags/tag447.xml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6" Type="http://schemas.openxmlformats.org/officeDocument/2006/relationships/tags" Target="../tags/tag446.xml"/><Relationship Id="rId5" Type="http://schemas.openxmlformats.org/officeDocument/2006/relationships/tags" Target="../tags/tag445.xml"/><Relationship Id="rId4" Type="http://schemas.openxmlformats.org/officeDocument/2006/relationships/tags" Target="../tags/tag44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55.xml"/><Relationship Id="rId3" Type="http://schemas.openxmlformats.org/officeDocument/2006/relationships/tags" Target="../tags/tag450.xml"/><Relationship Id="rId7" Type="http://schemas.openxmlformats.org/officeDocument/2006/relationships/tags" Target="../tags/tag454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tags" Target="../tags/tag453.xml"/><Relationship Id="rId5" Type="http://schemas.openxmlformats.org/officeDocument/2006/relationships/tags" Target="../tags/tag45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51.xml"/><Relationship Id="rId9" Type="http://schemas.openxmlformats.org/officeDocument/2006/relationships/tags" Target="../tags/tag456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64.xml"/><Relationship Id="rId3" Type="http://schemas.openxmlformats.org/officeDocument/2006/relationships/tags" Target="../tags/tag459.xml"/><Relationship Id="rId7" Type="http://schemas.openxmlformats.org/officeDocument/2006/relationships/tags" Target="../tags/tag463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458.xml"/><Relationship Id="rId1" Type="http://schemas.openxmlformats.org/officeDocument/2006/relationships/tags" Target="../tags/tag457.xml"/><Relationship Id="rId6" Type="http://schemas.openxmlformats.org/officeDocument/2006/relationships/tags" Target="../tags/tag462.xml"/><Relationship Id="rId11" Type="http://schemas.openxmlformats.org/officeDocument/2006/relationships/tags" Target="../tags/tag467.xml"/><Relationship Id="rId5" Type="http://schemas.openxmlformats.org/officeDocument/2006/relationships/tags" Target="../tags/tag461.xml"/><Relationship Id="rId10" Type="http://schemas.openxmlformats.org/officeDocument/2006/relationships/tags" Target="../tags/tag466.xml"/><Relationship Id="rId4" Type="http://schemas.openxmlformats.org/officeDocument/2006/relationships/tags" Target="../tags/tag460.xml"/><Relationship Id="rId9" Type="http://schemas.openxmlformats.org/officeDocument/2006/relationships/tags" Target="../tags/tag465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75.xml"/><Relationship Id="rId13" Type="http://schemas.openxmlformats.org/officeDocument/2006/relationships/tags" Target="../tags/tag480.xml"/><Relationship Id="rId18" Type="http://schemas.openxmlformats.org/officeDocument/2006/relationships/tags" Target="../tags/tag485.xml"/><Relationship Id="rId26" Type="http://schemas.openxmlformats.org/officeDocument/2006/relationships/image" Target="../media/image6.png"/><Relationship Id="rId3" Type="http://schemas.openxmlformats.org/officeDocument/2006/relationships/tags" Target="../tags/tag470.xml"/><Relationship Id="rId21" Type="http://schemas.openxmlformats.org/officeDocument/2006/relationships/tags" Target="../tags/tag488.xml"/><Relationship Id="rId7" Type="http://schemas.openxmlformats.org/officeDocument/2006/relationships/tags" Target="../tags/tag474.xml"/><Relationship Id="rId12" Type="http://schemas.openxmlformats.org/officeDocument/2006/relationships/tags" Target="../tags/tag479.xml"/><Relationship Id="rId17" Type="http://schemas.openxmlformats.org/officeDocument/2006/relationships/tags" Target="../tags/tag484.xml"/><Relationship Id="rId25" Type="http://schemas.openxmlformats.org/officeDocument/2006/relationships/slideMaster" Target="../slideMasters/slideMaster2.xml"/><Relationship Id="rId2" Type="http://schemas.openxmlformats.org/officeDocument/2006/relationships/tags" Target="../tags/tag469.xml"/><Relationship Id="rId16" Type="http://schemas.openxmlformats.org/officeDocument/2006/relationships/tags" Target="../tags/tag483.xml"/><Relationship Id="rId20" Type="http://schemas.openxmlformats.org/officeDocument/2006/relationships/tags" Target="../tags/tag487.xml"/><Relationship Id="rId1" Type="http://schemas.openxmlformats.org/officeDocument/2006/relationships/tags" Target="../tags/tag468.xml"/><Relationship Id="rId6" Type="http://schemas.openxmlformats.org/officeDocument/2006/relationships/tags" Target="../tags/tag473.xml"/><Relationship Id="rId11" Type="http://schemas.openxmlformats.org/officeDocument/2006/relationships/tags" Target="../tags/tag478.xml"/><Relationship Id="rId24" Type="http://schemas.openxmlformats.org/officeDocument/2006/relationships/tags" Target="../tags/tag491.xml"/><Relationship Id="rId5" Type="http://schemas.openxmlformats.org/officeDocument/2006/relationships/tags" Target="../tags/tag472.xml"/><Relationship Id="rId15" Type="http://schemas.openxmlformats.org/officeDocument/2006/relationships/tags" Target="../tags/tag482.xml"/><Relationship Id="rId23" Type="http://schemas.openxmlformats.org/officeDocument/2006/relationships/tags" Target="../tags/tag490.xml"/><Relationship Id="rId10" Type="http://schemas.openxmlformats.org/officeDocument/2006/relationships/tags" Target="../tags/tag477.xml"/><Relationship Id="rId19" Type="http://schemas.openxmlformats.org/officeDocument/2006/relationships/tags" Target="../tags/tag486.xml"/><Relationship Id="rId4" Type="http://schemas.openxmlformats.org/officeDocument/2006/relationships/tags" Target="../tags/tag471.xml"/><Relationship Id="rId9" Type="http://schemas.openxmlformats.org/officeDocument/2006/relationships/tags" Target="../tags/tag476.xml"/><Relationship Id="rId14" Type="http://schemas.openxmlformats.org/officeDocument/2006/relationships/tags" Target="../tags/tag481.xml"/><Relationship Id="rId22" Type="http://schemas.openxmlformats.org/officeDocument/2006/relationships/tags" Target="../tags/tag489.xml"/><Relationship Id="rId27" Type="http://schemas.openxmlformats.org/officeDocument/2006/relationships/image" Target="../media/image7.sv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499.xml"/><Relationship Id="rId3" Type="http://schemas.openxmlformats.org/officeDocument/2006/relationships/tags" Target="../tags/tag494.xml"/><Relationship Id="rId7" Type="http://schemas.openxmlformats.org/officeDocument/2006/relationships/tags" Target="../tags/tag498.xml"/><Relationship Id="rId2" Type="http://schemas.openxmlformats.org/officeDocument/2006/relationships/tags" Target="../tags/tag493.xml"/><Relationship Id="rId1" Type="http://schemas.openxmlformats.org/officeDocument/2006/relationships/tags" Target="../tags/tag492.xml"/><Relationship Id="rId6" Type="http://schemas.openxmlformats.org/officeDocument/2006/relationships/tags" Target="../tags/tag497.xml"/><Relationship Id="rId5" Type="http://schemas.openxmlformats.org/officeDocument/2006/relationships/tags" Target="../tags/tag49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95.xml"/><Relationship Id="rId9" Type="http://schemas.openxmlformats.org/officeDocument/2006/relationships/tags" Target="../tags/tag500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5" Type="http://schemas.openxmlformats.org/officeDocument/2006/relationships/tags" Target="../tags/tag505.xml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tags" Target="../tags/tag515.xml"/><Relationship Id="rId5" Type="http://schemas.openxmlformats.org/officeDocument/2006/relationships/tags" Target="../tags/tag514.xml"/><Relationship Id="rId4" Type="http://schemas.openxmlformats.org/officeDocument/2006/relationships/tags" Target="../tags/tag51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51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17.xml"/><Relationship Id="rId1" Type="http://schemas.openxmlformats.org/officeDocument/2006/relationships/tags" Target="../tags/tag516.xml"/><Relationship Id="rId6" Type="http://schemas.openxmlformats.org/officeDocument/2006/relationships/tags" Target="../tags/tag521.xml"/><Relationship Id="rId5" Type="http://schemas.openxmlformats.org/officeDocument/2006/relationships/tags" Target="../tags/tag520.xml"/><Relationship Id="rId4" Type="http://schemas.openxmlformats.org/officeDocument/2006/relationships/tags" Target="../tags/tag51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24.xml"/><Relationship Id="rId7" Type="http://schemas.openxmlformats.org/officeDocument/2006/relationships/tags" Target="../tags/tag528.xml"/><Relationship Id="rId2" Type="http://schemas.openxmlformats.org/officeDocument/2006/relationships/tags" Target="../tags/tag523.xml"/><Relationship Id="rId1" Type="http://schemas.openxmlformats.org/officeDocument/2006/relationships/tags" Target="../tags/tag522.xml"/><Relationship Id="rId6" Type="http://schemas.openxmlformats.org/officeDocument/2006/relationships/tags" Target="../tags/tag527.xml"/><Relationship Id="rId5" Type="http://schemas.openxmlformats.org/officeDocument/2006/relationships/tags" Target="../tags/tag526.xml"/><Relationship Id="rId4" Type="http://schemas.openxmlformats.org/officeDocument/2006/relationships/tags" Target="../tags/tag52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31.xml"/><Relationship Id="rId7" Type="http://schemas.openxmlformats.org/officeDocument/2006/relationships/tags" Target="../tags/tag535.xml"/><Relationship Id="rId2" Type="http://schemas.openxmlformats.org/officeDocument/2006/relationships/tags" Target="../tags/tag530.xml"/><Relationship Id="rId1" Type="http://schemas.openxmlformats.org/officeDocument/2006/relationships/tags" Target="../tags/tag529.xml"/><Relationship Id="rId6" Type="http://schemas.openxmlformats.org/officeDocument/2006/relationships/tags" Target="../tags/tag534.xml"/><Relationship Id="rId5" Type="http://schemas.openxmlformats.org/officeDocument/2006/relationships/tags" Target="../tags/tag533.xml"/><Relationship Id="rId4" Type="http://schemas.openxmlformats.org/officeDocument/2006/relationships/tags" Target="../tags/tag53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4.sv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9.xml"/><Relationship Id="rId7" Type="http://schemas.openxmlformats.org/officeDocument/2006/relationships/image" Target="../media/image3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4EAD2B2F-A389-4442-B3E5-869A0938936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4670357" y="-1"/>
            <a:ext cx="7521644" cy="685718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BA07092-4112-4437-BB1E-0F2FC6A50BB8}"/>
              </a:ext>
            </a:extLst>
          </p:cNvPr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white">
          <a:xfrm>
            <a:off x="829687" y="3308354"/>
            <a:ext cx="10515599" cy="1531777"/>
          </a:xfrm>
          <a:noFill/>
          <a:ln/>
          <a:effectLst>
            <a:outerShdw sx="0" sy="0" rotWithShape="0">
              <a:srgbClr val="000000"/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 kumimoji="0" sz="5000" b="1" i="0" u="none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EEFB1B9-3C4C-4780-8DCC-E0A03FCD4157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white">
          <a:xfrm>
            <a:off x="838202" y="5244635"/>
            <a:ext cx="10515599" cy="585525"/>
          </a:xfrm>
          <a:prstGeom prst="rect">
            <a:avLst/>
          </a:prstGeom>
          <a:noFill/>
          <a:ln/>
          <a:effectLst>
            <a:outerShdw sx="0" sy="0" rotWithShape="0">
              <a:srgbClr val="000000"/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anchor="t"/>
          <a:lstStyle>
            <a:lvl1pPr marL="0" indent="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 kumimoji="0" sz="2400" b="0" i="0" u="none" baseline="0">
                <a:solidFill>
                  <a:srgbClr val="FFFFFF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GB" dirty="0"/>
          </a:p>
        </p:txBody>
      </p:sp>
      <p:grpSp>
        <p:nvGrpSpPr>
          <p:cNvPr id="9" name="Grafik 8">
            <a:extLst>
              <a:ext uri="{FF2B5EF4-FFF2-40B4-BE49-F238E27FC236}">
                <a16:creationId xmlns:a16="http://schemas.microsoft.com/office/drawing/2014/main" id="{ECAD6EF8-9B52-4F20-BD79-2E962D6AF197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>
            <a:off x="849418" y="698004"/>
            <a:ext cx="2666471" cy="776880"/>
            <a:chOff x="4005262" y="2405061"/>
            <a:chExt cx="1134427" cy="330517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FF87F37-51F5-46E5-A288-C5B80F5BACD4}"/>
                </a:ext>
              </a:extLst>
            </p:cNvPr>
            <p:cNvSpPr/>
            <p:nvPr/>
          </p:nvSpPr>
          <p:spPr bwMode="gray">
            <a:xfrm>
              <a:off x="4092891" y="2406967"/>
              <a:ext cx="153352" cy="140017"/>
            </a:xfrm>
            <a:custGeom>
              <a:avLst/>
              <a:gdLst>
                <a:gd name="connsiteX0" fmla="*/ 58103 w 153352"/>
                <a:gd name="connsiteY0" fmla="*/ 54293 h 140017"/>
                <a:gd name="connsiteX1" fmla="*/ 46673 w 153352"/>
                <a:gd name="connsiteY1" fmla="*/ 42863 h 140017"/>
                <a:gd name="connsiteX2" fmla="*/ 58103 w 153352"/>
                <a:gd name="connsiteY2" fmla="*/ 31433 h 140017"/>
                <a:gd name="connsiteX3" fmla="*/ 138113 w 153352"/>
                <a:gd name="connsiteY3" fmla="*/ 31433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2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2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2 w 153352"/>
                <a:gd name="connsiteY14" fmla="*/ 140018 h 140017"/>
                <a:gd name="connsiteX15" fmla="*/ 139065 w 153352"/>
                <a:gd name="connsiteY15" fmla="*/ 97155 h 140017"/>
                <a:gd name="connsiteX16" fmla="*/ 96202 w 153352"/>
                <a:gd name="connsiteY16" fmla="*/ 54292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3"/>
                  </a:moveTo>
                  <a:cubicBezTo>
                    <a:pt x="51790" y="54293"/>
                    <a:pt x="46673" y="49175"/>
                    <a:pt x="46673" y="42863"/>
                  </a:cubicBezTo>
                  <a:cubicBezTo>
                    <a:pt x="46673" y="36550"/>
                    <a:pt x="51790" y="31433"/>
                    <a:pt x="58103" y="31433"/>
                  </a:cubicBezTo>
                  <a:lnTo>
                    <a:pt x="138113" y="31433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2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2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2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2"/>
                    <a:pt x="96202" y="5429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62C8A74F-5A79-461E-BAD7-6A77A68FB820}"/>
                </a:ext>
              </a:extLst>
            </p:cNvPr>
            <p:cNvSpPr/>
            <p:nvPr/>
          </p:nvSpPr>
          <p:spPr bwMode="gray">
            <a:xfrm>
              <a:off x="4704397" y="2407919"/>
              <a:ext cx="143827" cy="139064"/>
            </a:xfrm>
            <a:custGeom>
              <a:avLst/>
              <a:gdLst>
                <a:gd name="connsiteX0" fmla="*/ 50482 w 143827"/>
                <a:gd name="connsiteY0" fmla="*/ 88583 h 139064"/>
                <a:gd name="connsiteX1" fmla="*/ 50482 w 143827"/>
                <a:gd name="connsiteY1" fmla="*/ 88583 h 139064"/>
                <a:gd name="connsiteX2" fmla="*/ 71438 w 143827"/>
                <a:gd name="connsiteY2" fmla="*/ 32385 h 139064"/>
                <a:gd name="connsiteX3" fmla="*/ 72390 w 143827"/>
                <a:gd name="connsiteY3" fmla="*/ 32385 h 139064"/>
                <a:gd name="connsiteX4" fmla="*/ 93345 w 143827"/>
                <a:gd name="connsiteY4" fmla="*/ 88583 h 139064"/>
                <a:gd name="connsiteX5" fmla="*/ 50482 w 143827"/>
                <a:gd name="connsiteY5" fmla="*/ 88583 h 139064"/>
                <a:gd name="connsiteX6" fmla="*/ 49530 w 143827"/>
                <a:gd name="connsiteY6" fmla="*/ 0 h 139064"/>
                <a:gd name="connsiteX7" fmla="*/ 0 w 143827"/>
                <a:gd name="connsiteY7" fmla="*/ 139065 h 139064"/>
                <a:gd name="connsiteX8" fmla="*/ 33338 w 143827"/>
                <a:gd name="connsiteY8" fmla="*/ 139065 h 139064"/>
                <a:gd name="connsiteX9" fmla="*/ 40957 w 143827"/>
                <a:gd name="connsiteY9" fmla="*/ 118110 h 139064"/>
                <a:gd name="connsiteX10" fmla="*/ 102870 w 143827"/>
                <a:gd name="connsiteY10" fmla="*/ 118110 h 139064"/>
                <a:gd name="connsiteX11" fmla="*/ 110490 w 143827"/>
                <a:gd name="connsiteY11" fmla="*/ 139065 h 139064"/>
                <a:gd name="connsiteX12" fmla="*/ 143827 w 143827"/>
                <a:gd name="connsiteY12" fmla="*/ 139065 h 139064"/>
                <a:gd name="connsiteX13" fmla="*/ 94298 w 143827"/>
                <a:gd name="connsiteY13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27" h="139064">
                  <a:moveTo>
                    <a:pt x="50482" y="88583"/>
                  </a:moveTo>
                  <a:lnTo>
                    <a:pt x="50482" y="88583"/>
                  </a:lnTo>
                  <a:lnTo>
                    <a:pt x="71438" y="32385"/>
                  </a:lnTo>
                  <a:lnTo>
                    <a:pt x="72390" y="32385"/>
                  </a:lnTo>
                  <a:lnTo>
                    <a:pt x="93345" y="88583"/>
                  </a:lnTo>
                  <a:lnTo>
                    <a:pt x="50482" y="88583"/>
                  </a:lnTo>
                  <a:close/>
                  <a:moveTo>
                    <a:pt x="49530" y="0"/>
                  </a:moveTo>
                  <a:lnTo>
                    <a:pt x="0" y="139065"/>
                  </a:lnTo>
                  <a:lnTo>
                    <a:pt x="33338" y="139065"/>
                  </a:lnTo>
                  <a:lnTo>
                    <a:pt x="40957" y="118110"/>
                  </a:lnTo>
                  <a:lnTo>
                    <a:pt x="102870" y="118110"/>
                  </a:lnTo>
                  <a:lnTo>
                    <a:pt x="110490" y="139065"/>
                  </a:lnTo>
                  <a:lnTo>
                    <a:pt x="143827" y="139065"/>
                  </a:lnTo>
                  <a:lnTo>
                    <a:pt x="94298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488E0D41-F6DF-4000-8E10-B0A618CF91EE}"/>
                </a:ext>
              </a:extLst>
            </p:cNvPr>
            <p:cNvSpPr/>
            <p:nvPr/>
          </p:nvSpPr>
          <p:spPr bwMode="gray">
            <a:xfrm>
              <a:off x="4408169" y="2407919"/>
              <a:ext cx="126682" cy="139064"/>
            </a:xfrm>
            <a:custGeom>
              <a:avLst/>
              <a:gdLst>
                <a:gd name="connsiteX0" fmla="*/ 95250 w 126682"/>
                <a:gd name="connsiteY0" fmla="*/ 54293 h 139064"/>
                <a:gd name="connsiteX1" fmla="*/ 31432 w 126682"/>
                <a:gd name="connsiteY1" fmla="*/ 54293 h 139064"/>
                <a:gd name="connsiteX2" fmla="*/ 31432 w 126682"/>
                <a:gd name="connsiteY2" fmla="*/ 0 h 139064"/>
                <a:gd name="connsiteX3" fmla="*/ 0 w 126682"/>
                <a:gd name="connsiteY3" fmla="*/ 0 h 139064"/>
                <a:gd name="connsiteX4" fmla="*/ 0 w 126682"/>
                <a:gd name="connsiteY4" fmla="*/ 139065 h 139064"/>
                <a:gd name="connsiteX5" fmla="*/ 31432 w 126682"/>
                <a:gd name="connsiteY5" fmla="*/ 139065 h 139064"/>
                <a:gd name="connsiteX6" fmla="*/ 31432 w 126682"/>
                <a:gd name="connsiteY6" fmla="*/ 85725 h 139064"/>
                <a:gd name="connsiteX7" fmla="*/ 95250 w 126682"/>
                <a:gd name="connsiteY7" fmla="*/ 85725 h 139064"/>
                <a:gd name="connsiteX8" fmla="*/ 95250 w 126682"/>
                <a:gd name="connsiteY8" fmla="*/ 139065 h 139064"/>
                <a:gd name="connsiteX9" fmla="*/ 126682 w 126682"/>
                <a:gd name="connsiteY9" fmla="*/ 139065 h 139064"/>
                <a:gd name="connsiteX10" fmla="*/ 126682 w 126682"/>
                <a:gd name="connsiteY10" fmla="*/ 0 h 139064"/>
                <a:gd name="connsiteX11" fmla="*/ 95250 w 126682"/>
                <a:gd name="connsiteY11" fmla="*/ 0 h 139064"/>
                <a:gd name="connsiteX12" fmla="*/ 95250 w 126682"/>
                <a:gd name="connsiteY12" fmla="*/ 5429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682" h="139064">
                  <a:moveTo>
                    <a:pt x="95250" y="54293"/>
                  </a:moveTo>
                  <a:lnTo>
                    <a:pt x="31432" y="54293"/>
                  </a:lnTo>
                  <a:lnTo>
                    <a:pt x="31432" y="0"/>
                  </a:ln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85725"/>
                  </a:lnTo>
                  <a:lnTo>
                    <a:pt x="95250" y="85725"/>
                  </a:lnTo>
                  <a:lnTo>
                    <a:pt x="95250" y="139065"/>
                  </a:lnTo>
                  <a:lnTo>
                    <a:pt x="126682" y="139065"/>
                  </a:lnTo>
                  <a:lnTo>
                    <a:pt x="126682" y="0"/>
                  </a:lnTo>
                  <a:lnTo>
                    <a:pt x="95250" y="0"/>
                  </a:lnTo>
                  <a:lnTo>
                    <a:pt x="95250" y="5429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38F7E78-A15E-4742-84D0-0CB4278253B0}"/>
                </a:ext>
              </a:extLst>
            </p:cNvPr>
            <p:cNvSpPr/>
            <p:nvPr/>
          </p:nvSpPr>
          <p:spPr bwMode="gray">
            <a:xfrm>
              <a:off x="5043487" y="2407919"/>
              <a:ext cx="96202" cy="139064"/>
            </a:xfrm>
            <a:custGeom>
              <a:avLst/>
              <a:gdLst>
                <a:gd name="connsiteX0" fmla="*/ 55245 w 96202"/>
                <a:gd name="connsiteY0" fmla="*/ 0 h 139064"/>
                <a:gd name="connsiteX1" fmla="*/ 0 w 96202"/>
                <a:gd name="connsiteY1" fmla="*/ 69533 h 139064"/>
                <a:gd name="connsiteX2" fmla="*/ 55245 w 96202"/>
                <a:gd name="connsiteY2" fmla="*/ 139065 h 139064"/>
                <a:gd name="connsiteX3" fmla="*/ 96202 w 96202"/>
                <a:gd name="connsiteY3" fmla="*/ 139065 h 139064"/>
                <a:gd name="connsiteX4" fmla="*/ 40958 w 96202"/>
                <a:gd name="connsiteY4" fmla="*/ 69533 h 139064"/>
                <a:gd name="connsiteX5" fmla="*/ 96202 w 96202"/>
                <a:gd name="connsiteY5" fmla="*/ 0 h 139064"/>
                <a:gd name="connsiteX6" fmla="*/ 55245 w 96202"/>
                <a:gd name="connsiteY6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202" h="139064">
                  <a:moveTo>
                    <a:pt x="55245" y="0"/>
                  </a:moveTo>
                  <a:lnTo>
                    <a:pt x="0" y="69533"/>
                  </a:lnTo>
                  <a:lnTo>
                    <a:pt x="55245" y="139065"/>
                  </a:lnTo>
                  <a:lnTo>
                    <a:pt x="96202" y="139065"/>
                  </a:lnTo>
                  <a:lnTo>
                    <a:pt x="40958" y="69533"/>
                  </a:lnTo>
                  <a:lnTo>
                    <a:pt x="96202" y="0"/>
                  </a:lnTo>
                  <a:lnTo>
                    <a:pt x="55245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7067EBBF-DFEF-4D3A-ADB3-403DDB57719A}"/>
                </a:ext>
              </a:extLst>
            </p:cNvPr>
            <p:cNvSpPr/>
            <p:nvPr/>
          </p:nvSpPr>
          <p:spPr bwMode="gray">
            <a:xfrm>
              <a:off x="5007292" y="2407919"/>
              <a:ext cx="31432" cy="139065"/>
            </a:xfrm>
            <a:custGeom>
              <a:avLst/>
              <a:gdLst>
                <a:gd name="connsiteX0" fmla="*/ 0 w 31432"/>
                <a:gd name="connsiteY0" fmla="*/ 0 h 139065"/>
                <a:gd name="connsiteX1" fmla="*/ 31433 w 31432"/>
                <a:gd name="connsiteY1" fmla="*/ 0 h 139065"/>
                <a:gd name="connsiteX2" fmla="*/ 31433 w 31432"/>
                <a:gd name="connsiteY2" fmla="*/ 139065 h 139065"/>
                <a:gd name="connsiteX3" fmla="*/ 0 w 31432"/>
                <a:gd name="connsiteY3" fmla="*/ 139065 h 13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" h="139065">
                  <a:moveTo>
                    <a:pt x="0" y="0"/>
                  </a:moveTo>
                  <a:lnTo>
                    <a:pt x="31433" y="0"/>
                  </a:lnTo>
                  <a:lnTo>
                    <a:pt x="31433" y="139065"/>
                  </a:lnTo>
                  <a:lnTo>
                    <a:pt x="0" y="13906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F3A649D5-2399-46E7-8B68-331BE26BF010}"/>
                </a:ext>
              </a:extLst>
            </p:cNvPr>
            <p:cNvSpPr/>
            <p:nvPr/>
          </p:nvSpPr>
          <p:spPr bwMode="gray">
            <a:xfrm>
              <a:off x="4565331" y="2407919"/>
              <a:ext cx="126682" cy="139064"/>
            </a:xfrm>
            <a:custGeom>
              <a:avLst/>
              <a:gdLst>
                <a:gd name="connsiteX0" fmla="*/ 31432 w 126682"/>
                <a:gd name="connsiteY0" fmla="*/ 31433 h 139064"/>
                <a:gd name="connsiteX1" fmla="*/ 77153 w 126682"/>
                <a:gd name="connsiteY1" fmla="*/ 31433 h 139064"/>
                <a:gd name="connsiteX2" fmla="*/ 92393 w 126682"/>
                <a:gd name="connsiteY2" fmla="*/ 46673 h 139064"/>
                <a:gd name="connsiteX3" fmla="*/ 77153 w 126682"/>
                <a:gd name="connsiteY3" fmla="*/ 61913 h 139064"/>
                <a:gd name="connsiteX4" fmla="*/ 31432 w 126682"/>
                <a:gd name="connsiteY4" fmla="*/ 61913 h 139064"/>
                <a:gd name="connsiteX5" fmla="*/ 123825 w 126682"/>
                <a:gd name="connsiteY5" fmla="*/ 46673 h 139064"/>
                <a:gd name="connsiteX6" fmla="*/ 77153 w 126682"/>
                <a:gd name="connsiteY6" fmla="*/ 0 h 139064"/>
                <a:gd name="connsiteX7" fmla="*/ 0 w 126682"/>
                <a:gd name="connsiteY7" fmla="*/ 0 h 139064"/>
                <a:gd name="connsiteX8" fmla="*/ 0 w 126682"/>
                <a:gd name="connsiteY8" fmla="*/ 139065 h 139064"/>
                <a:gd name="connsiteX9" fmla="*/ 31432 w 126682"/>
                <a:gd name="connsiteY9" fmla="*/ 139065 h 139064"/>
                <a:gd name="connsiteX10" fmla="*/ 31432 w 126682"/>
                <a:gd name="connsiteY10" fmla="*/ 92393 h 139064"/>
                <a:gd name="connsiteX11" fmla="*/ 57150 w 126682"/>
                <a:gd name="connsiteY11" fmla="*/ 92393 h 139064"/>
                <a:gd name="connsiteX12" fmla="*/ 88582 w 126682"/>
                <a:gd name="connsiteY12" fmla="*/ 139065 h 139064"/>
                <a:gd name="connsiteX13" fmla="*/ 126682 w 126682"/>
                <a:gd name="connsiteY13" fmla="*/ 139065 h 139064"/>
                <a:gd name="connsiteX14" fmla="*/ 93345 w 126682"/>
                <a:gd name="connsiteY14" fmla="*/ 89535 h 139064"/>
                <a:gd name="connsiteX15" fmla="*/ 123825 w 126682"/>
                <a:gd name="connsiteY15" fmla="*/ 4667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682" h="139064">
                  <a:moveTo>
                    <a:pt x="31432" y="31433"/>
                  </a:moveTo>
                  <a:lnTo>
                    <a:pt x="77153" y="31433"/>
                  </a:lnTo>
                  <a:cubicBezTo>
                    <a:pt x="85569" y="31433"/>
                    <a:pt x="92393" y="38256"/>
                    <a:pt x="92393" y="46673"/>
                  </a:cubicBezTo>
                  <a:cubicBezTo>
                    <a:pt x="92393" y="55089"/>
                    <a:pt x="85569" y="61913"/>
                    <a:pt x="77153" y="61913"/>
                  </a:cubicBezTo>
                  <a:lnTo>
                    <a:pt x="31432" y="61913"/>
                  </a:lnTo>
                  <a:close/>
                  <a:moveTo>
                    <a:pt x="123825" y="46673"/>
                  </a:moveTo>
                  <a:cubicBezTo>
                    <a:pt x="123773" y="20918"/>
                    <a:pt x="102907" y="52"/>
                    <a:pt x="77153" y="0"/>
                  </a:cubicBez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92393"/>
                  </a:lnTo>
                  <a:lnTo>
                    <a:pt x="57150" y="92393"/>
                  </a:lnTo>
                  <a:lnTo>
                    <a:pt x="88582" y="139065"/>
                  </a:lnTo>
                  <a:lnTo>
                    <a:pt x="126682" y="139065"/>
                  </a:lnTo>
                  <a:lnTo>
                    <a:pt x="93345" y="89535"/>
                  </a:lnTo>
                  <a:cubicBezTo>
                    <a:pt x="111440" y="82990"/>
                    <a:pt x="123584" y="65914"/>
                    <a:pt x="123825" y="4667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86E87CF4-9C80-4195-8AE1-32D567C83CC5}"/>
                </a:ext>
              </a:extLst>
            </p:cNvPr>
            <p:cNvSpPr/>
            <p:nvPr/>
          </p:nvSpPr>
          <p:spPr bwMode="gray">
            <a:xfrm>
              <a:off x="4248149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1816 w 141922"/>
                <a:gd name="connsiteY10" fmla="*/ 31433 h 144780"/>
                <a:gd name="connsiteX11" fmla="*/ 72390 w 141922"/>
                <a:gd name="connsiteY11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274" y="49928"/>
                    <a:pt x="49355" y="31591"/>
                    <a:pt x="71816" y="31433"/>
                  </a:cubicBezTo>
                  <a:cubicBezTo>
                    <a:pt x="72008" y="31431"/>
                    <a:pt x="72199" y="31431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0984BB33-5986-4D2B-854E-9CF04F9EB595}"/>
                </a:ext>
              </a:extLst>
            </p:cNvPr>
            <p:cNvSpPr/>
            <p:nvPr/>
          </p:nvSpPr>
          <p:spPr bwMode="gray">
            <a:xfrm>
              <a:off x="4847272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936" y="49982"/>
                    <a:pt x="49982" y="31936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358F731-FEE6-4F66-91E0-E755805F5CCD}"/>
                </a:ext>
              </a:extLst>
            </p:cNvPr>
            <p:cNvSpPr/>
            <p:nvPr/>
          </p:nvSpPr>
          <p:spPr bwMode="gray">
            <a:xfrm>
              <a:off x="4005262" y="2592704"/>
              <a:ext cx="153352" cy="140017"/>
            </a:xfrm>
            <a:custGeom>
              <a:avLst/>
              <a:gdLst>
                <a:gd name="connsiteX0" fmla="*/ 58103 w 153352"/>
                <a:gd name="connsiteY0" fmla="*/ 54292 h 140017"/>
                <a:gd name="connsiteX1" fmla="*/ 46673 w 153352"/>
                <a:gd name="connsiteY1" fmla="*/ 42862 h 140017"/>
                <a:gd name="connsiteX2" fmla="*/ 58103 w 153352"/>
                <a:gd name="connsiteY2" fmla="*/ 31432 h 140017"/>
                <a:gd name="connsiteX3" fmla="*/ 138113 w 153352"/>
                <a:gd name="connsiteY3" fmla="*/ 31432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3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3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3 w 153352"/>
                <a:gd name="connsiteY14" fmla="*/ 140018 h 140017"/>
                <a:gd name="connsiteX15" fmla="*/ 139065 w 153352"/>
                <a:gd name="connsiteY15" fmla="*/ 97155 h 140017"/>
                <a:gd name="connsiteX16" fmla="*/ 96203 w 153352"/>
                <a:gd name="connsiteY16" fmla="*/ 5429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2"/>
                  </a:moveTo>
                  <a:cubicBezTo>
                    <a:pt x="51790" y="54292"/>
                    <a:pt x="46673" y="49175"/>
                    <a:pt x="46673" y="42862"/>
                  </a:cubicBezTo>
                  <a:cubicBezTo>
                    <a:pt x="46673" y="36550"/>
                    <a:pt x="51790" y="31432"/>
                    <a:pt x="58103" y="31432"/>
                  </a:cubicBezTo>
                  <a:lnTo>
                    <a:pt x="138113" y="31432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3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3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3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3"/>
                    <a:pt x="96203" y="54293"/>
                  </a:cubicBez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953B7A6B-9218-442A-A3BE-1A16E8BD2AE9}"/>
                </a:ext>
              </a:extLst>
            </p:cNvPr>
            <p:cNvSpPr/>
            <p:nvPr/>
          </p:nvSpPr>
          <p:spPr bwMode="gray">
            <a:xfrm>
              <a:off x="4914899" y="2592704"/>
              <a:ext cx="124777" cy="140017"/>
            </a:xfrm>
            <a:custGeom>
              <a:avLst/>
              <a:gdLst>
                <a:gd name="connsiteX0" fmla="*/ 0 w 124777"/>
                <a:gd name="connsiteY0" fmla="*/ 0 h 140017"/>
                <a:gd name="connsiteX1" fmla="*/ 0 w 124777"/>
                <a:gd name="connsiteY1" fmla="*/ 32385 h 140017"/>
                <a:gd name="connsiteX2" fmla="*/ 46673 w 124777"/>
                <a:gd name="connsiteY2" fmla="*/ 32385 h 140017"/>
                <a:gd name="connsiteX3" fmla="*/ 46673 w 124777"/>
                <a:gd name="connsiteY3" fmla="*/ 140018 h 140017"/>
                <a:gd name="connsiteX4" fmla="*/ 78105 w 124777"/>
                <a:gd name="connsiteY4" fmla="*/ 140018 h 140017"/>
                <a:gd name="connsiteX5" fmla="*/ 78105 w 124777"/>
                <a:gd name="connsiteY5" fmla="*/ 32385 h 140017"/>
                <a:gd name="connsiteX6" fmla="*/ 124777 w 124777"/>
                <a:gd name="connsiteY6" fmla="*/ 32385 h 140017"/>
                <a:gd name="connsiteX7" fmla="*/ 124777 w 124777"/>
                <a:gd name="connsiteY7" fmla="*/ 0 h 140017"/>
                <a:gd name="connsiteX8" fmla="*/ 0 w 124777"/>
                <a:gd name="connsiteY8" fmla="*/ 0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777" h="140017">
                  <a:moveTo>
                    <a:pt x="0" y="0"/>
                  </a:moveTo>
                  <a:lnTo>
                    <a:pt x="0" y="32385"/>
                  </a:lnTo>
                  <a:lnTo>
                    <a:pt x="46673" y="32385"/>
                  </a:lnTo>
                  <a:lnTo>
                    <a:pt x="46673" y="140018"/>
                  </a:lnTo>
                  <a:lnTo>
                    <a:pt x="78105" y="140018"/>
                  </a:lnTo>
                  <a:lnTo>
                    <a:pt x="78105" y="32385"/>
                  </a:lnTo>
                  <a:lnTo>
                    <a:pt x="124777" y="32385"/>
                  </a:lnTo>
                  <a:lnTo>
                    <a:pt x="1247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F58D777A-E0E3-413B-AB80-92A98F214E0D}"/>
                </a:ext>
              </a:extLst>
            </p:cNvPr>
            <p:cNvSpPr/>
            <p:nvPr/>
          </p:nvSpPr>
          <p:spPr bwMode="gray">
            <a:xfrm>
              <a:off x="4179569" y="2592704"/>
              <a:ext cx="110490" cy="140017"/>
            </a:xfrm>
            <a:custGeom>
              <a:avLst/>
              <a:gdLst>
                <a:gd name="connsiteX0" fmla="*/ 0 w 110490"/>
                <a:gd name="connsiteY0" fmla="*/ 140018 h 140017"/>
                <a:gd name="connsiteX1" fmla="*/ 110490 w 110490"/>
                <a:gd name="connsiteY1" fmla="*/ 140018 h 140017"/>
                <a:gd name="connsiteX2" fmla="*/ 110490 w 110490"/>
                <a:gd name="connsiteY2" fmla="*/ 107632 h 140017"/>
                <a:gd name="connsiteX3" fmla="*/ 32385 w 110490"/>
                <a:gd name="connsiteY3" fmla="*/ 107632 h 140017"/>
                <a:gd name="connsiteX4" fmla="*/ 32385 w 110490"/>
                <a:gd name="connsiteY4" fmla="*/ 84773 h 140017"/>
                <a:gd name="connsiteX5" fmla="*/ 102870 w 110490"/>
                <a:gd name="connsiteY5" fmla="*/ 84773 h 140017"/>
                <a:gd name="connsiteX6" fmla="*/ 102870 w 110490"/>
                <a:gd name="connsiteY6" fmla="*/ 55245 h 140017"/>
                <a:gd name="connsiteX7" fmla="*/ 32385 w 110490"/>
                <a:gd name="connsiteY7" fmla="*/ 55245 h 140017"/>
                <a:gd name="connsiteX8" fmla="*/ 32385 w 110490"/>
                <a:gd name="connsiteY8" fmla="*/ 32385 h 140017"/>
                <a:gd name="connsiteX9" fmla="*/ 110490 w 110490"/>
                <a:gd name="connsiteY9" fmla="*/ 32385 h 140017"/>
                <a:gd name="connsiteX10" fmla="*/ 110490 w 110490"/>
                <a:gd name="connsiteY10" fmla="*/ 0 h 140017"/>
                <a:gd name="connsiteX11" fmla="*/ 0 w 110490"/>
                <a:gd name="connsiteY11" fmla="*/ 0 h 140017"/>
                <a:gd name="connsiteX12" fmla="*/ 0 w 110490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90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19C8CF01-F4BE-4F24-AD4F-A5A8FCE9803F}"/>
                </a:ext>
              </a:extLst>
            </p:cNvPr>
            <p:cNvSpPr/>
            <p:nvPr/>
          </p:nvSpPr>
          <p:spPr bwMode="gray">
            <a:xfrm>
              <a:off x="4787264" y="2592704"/>
              <a:ext cx="110489" cy="140017"/>
            </a:xfrm>
            <a:custGeom>
              <a:avLst/>
              <a:gdLst>
                <a:gd name="connsiteX0" fmla="*/ 0 w 110489"/>
                <a:gd name="connsiteY0" fmla="*/ 140018 h 140017"/>
                <a:gd name="connsiteX1" fmla="*/ 110490 w 110489"/>
                <a:gd name="connsiteY1" fmla="*/ 140018 h 140017"/>
                <a:gd name="connsiteX2" fmla="*/ 110490 w 110489"/>
                <a:gd name="connsiteY2" fmla="*/ 107632 h 140017"/>
                <a:gd name="connsiteX3" fmla="*/ 32385 w 110489"/>
                <a:gd name="connsiteY3" fmla="*/ 107632 h 140017"/>
                <a:gd name="connsiteX4" fmla="*/ 32385 w 110489"/>
                <a:gd name="connsiteY4" fmla="*/ 84773 h 140017"/>
                <a:gd name="connsiteX5" fmla="*/ 102870 w 110489"/>
                <a:gd name="connsiteY5" fmla="*/ 84773 h 140017"/>
                <a:gd name="connsiteX6" fmla="*/ 102870 w 110489"/>
                <a:gd name="connsiteY6" fmla="*/ 55245 h 140017"/>
                <a:gd name="connsiteX7" fmla="*/ 32385 w 110489"/>
                <a:gd name="connsiteY7" fmla="*/ 55245 h 140017"/>
                <a:gd name="connsiteX8" fmla="*/ 32385 w 110489"/>
                <a:gd name="connsiteY8" fmla="*/ 32385 h 140017"/>
                <a:gd name="connsiteX9" fmla="*/ 110490 w 110489"/>
                <a:gd name="connsiteY9" fmla="*/ 32385 h 140017"/>
                <a:gd name="connsiteX10" fmla="*/ 110490 w 110489"/>
                <a:gd name="connsiteY10" fmla="*/ 0 h 140017"/>
                <a:gd name="connsiteX11" fmla="*/ 0 w 110489"/>
                <a:gd name="connsiteY11" fmla="*/ 0 h 140017"/>
                <a:gd name="connsiteX12" fmla="*/ 0 w 110489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89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7D1B06-C507-4589-883F-5B461F7E0332}"/>
                </a:ext>
              </a:extLst>
            </p:cNvPr>
            <p:cNvSpPr/>
            <p:nvPr/>
          </p:nvSpPr>
          <p:spPr bwMode="gray">
            <a:xfrm>
              <a:off x="4309109" y="2590799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3862 w 141922"/>
                <a:gd name="connsiteY8" fmla="*/ 108633 h 144780"/>
                <a:gd name="connsiteX9" fmla="*/ 35716 w 141922"/>
                <a:gd name="connsiteY9" fmla="*/ 5391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484" y="110610"/>
                    <a:pt x="73984" y="118734"/>
                    <a:pt x="53862" y="108633"/>
                  </a:cubicBezTo>
                  <a:cubicBezTo>
                    <a:pt x="33740" y="98533"/>
                    <a:pt x="25615" y="74032"/>
                    <a:pt x="35716" y="53910"/>
                  </a:cubicBezTo>
                  <a:cubicBezTo>
                    <a:pt x="42672" y="40053"/>
                    <a:pt x="56886" y="31342"/>
                    <a:pt x="72390" y="31433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8A106705-FAA4-477B-AF73-7E95F22DF143}"/>
                </a:ext>
              </a:extLst>
            </p:cNvPr>
            <p:cNvSpPr/>
            <p:nvPr/>
          </p:nvSpPr>
          <p:spPr bwMode="gray">
            <a:xfrm>
              <a:off x="4467224" y="2590799"/>
              <a:ext cx="144779" cy="144780"/>
            </a:xfrm>
            <a:custGeom>
              <a:avLst/>
              <a:gdLst>
                <a:gd name="connsiteX0" fmla="*/ 72390 w 144779"/>
                <a:gd name="connsiteY0" fmla="*/ 0 h 144780"/>
                <a:gd name="connsiteX1" fmla="*/ 0 w 144779"/>
                <a:gd name="connsiteY1" fmla="*/ 72390 h 144780"/>
                <a:gd name="connsiteX2" fmla="*/ 72390 w 144779"/>
                <a:gd name="connsiteY2" fmla="*/ 144780 h 144780"/>
                <a:gd name="connsiteX3" fmla="*/ 144780 w 144779"/>
                <a:gd name="connsiteY3" fmla="*/ 72390 h 144780"/>
                <a:gd name="connsiteX4" fmla="*/ 72390 w 144779"/>
                <a:gd name="connsiteY4" fmla="*/ 0 h 144780"/>
                <a:gd name="connsiteX5" fmla="*/ 72390 w 144779"/>
                <a:gd name="connsiteY5" fmla="*/ 112395 h 144780"/>
                <a:gd name="connsiteX6" fmla="*/ 31432 w 144779"/>
                <a:gd name="connsiteY6" fmla="*/ 71438 h 144780"/>
                <a:gd name="connsiteX7" fmla="*/ 72390 w 144779"/>
                <a:gd name="connsiteY7" fmla="*/ 30480 h 144780"/>
                <a:gd name="connsiteX8" fmla="*/ 113347 w 144779"/>
                <a:gd name="connsiteY8" fmla="*/ 71438 h 144780"/>
                <a:gd name="connsiteX9" fmla="*/ 72964 w 144779"/>
                <a:gd name="connsiteY9" fmla="*/ 112395 h 144780"/>
                <a:gd name="connsiteX10" fmla="*/ 72390 w 144779"/>
                <a:gd name="connsiteY10" fmla="*/ 112395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779" h="144780">
                  <a:moveTo>
                    <a:pt x="72390" y="0"/>
                  </a:move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12370" y="144780"/>
                    <a:pt x="144780" y="112370"/>
                    <a:pt x="144780" y="72390"/>
                  </a:cubicBezTo>
                  <a:cubicBezTo>
                    <a:pt x="144780" y="32410"/>
                    <a:pt x="112370" y="0"/>
                    <a:pt x="72390" y="0"/>
                  </a:cubicBezTo>
                  <a:moveTo>
                    <a:pt x="72390" y="112395"/>
                  </a:moveTo>
                  <a:cubicBezTo>
                    <a:pt x="49770" y="112395"/>
                    <a:pt x="31432" y="94058"/>
                    <a:pt x="31432" y="71438"/>
                  </a:cubicBezTo>
                  <a:cubicBezTo>
                    <a:pt x="31432" y="48817"/>
                    <a:pt x="49770" y="30480"/>
                    <a:pt x="72390" y="30480"/>
                  </a:cubicBezTo>
                  <a:cubicBezTo>
                    <a:pt x="95010" y="30480"/>
                    <a:pt x="113347" y="48817"/>
                    <a:pt x="113347" y="71438"/>
                  </a:cubicBezTo>
                  <a:cubicBezTo>
                    <a:pt x="113506" y="93899"/>
                    <a:pt x="95425" y="112237"/>
                    <a:pt x="72964" y="112395"/>
                  </a:cubicBezTo>
                  <a:cubicBezTo>
                    <a:pt x="72772" y="112396"/>
                    <a:pt x="72581" y="112396"/>
                    <a:pt x="72390" y="112395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1A035BF-DEC1-4CA0-9A13-172372D956A9}"/>
                </a:ext>
              </a:extLst>
            </p:cNvPr>
            <p:cNvSpPr/>
            <p:nvPr/>
          </p:nvSpPr>
          <p:spPr bwMode="gray">
            <a:xfrm>
              <a:off x="4631054" y="2592704"/>
              <a:ext cx="128587" cy="140017"/>
            </a:xfrm>
            <a:custGeom>
              <a:avLst/>
              <a:gdLst>
                <a:gd name="connsiteX0" fmla="*/ 97155 w 128587"/>
                <a:gd name="connsiteY0" fmla="*/ 84773 h 140017"/>
                <a:gd name="connsiteX1" fmla="*/ 97155 w 128587"/>
                <a:gd name="connsiteY1" fmla="*/ 84773 h 140017"/>
                <a:gd name="connsiteX2" fmla="*/ 97155 w 128587"/>
                <a:gd name="connsiteY2" fmla="*/ 84773 h 140017"/>
                <a:gd name="connsiteX3" fmla="*/ 27623 w 128587"/>
                <a:gd name="connsiteY3" fmla="*/ 0 h 140017"/>
                <a:gd name="connsiteX4" fmla="*/ 0 w 128587"/>
                <a:gd name="connsiteY4" fmla="*/ 0 h 140017"/>
                <a:gd name="connsiteX5" fmla="*/ 0 w 128587"/>
                <a:gd name="connsiteY5" fmla="*/ 140018 h 140017"/>
                <a:gd name="connsiteX6" fmla="*/ 31433 w 128587"/>
                <a:gd name="connsiteY6" fmla="*/ 140018 h 140017"/>
                <a:gd name="connsiteX7" fmla="*/ 31433 w 128587"/>
                <a:gd name="connsiteY7" fmla="*/ 55245 h 140017"/>
                <a:gd name="connsiteX8" fmla="*/ 100965 w 128587"/>
                <a:gd name="connsiteY8" fmla="*/ 140018 h 140017"/>
                <a:gd name="connsiteX9" fmla="*/ 100965 w 128587"/>
                <a:gd name="connsiteY9" fmla="*/ 140018 h 140017"/>
                <a:gd name="connsiteX10" fmla="*/ 128588 w 128587"/>
                <a:gd name="connsiteY10" fmla="*/ 140018 h 140017"/>
                <a:gd name="connsiteX11" fmla="*/ 128588 w 128587"/>
                <a:gd name="connsiteY11" fmla="*/ 0 h 140017"/>
                <a:gd name="connsiteX12" fmla="*/ 97155 w 128587"/>
                <a:gd name="connsiteY12" fmla="*/ 0 h 140017"/>
                <a:gd name="connsiteX13" fmla="*/ 97155 w 128587"/>
                <a:gd name="connsiteY13" fmla="*/ 8477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587" h="140017">
                  <a:moveTo>
                    <a:pt x="97155" y="84773"/>
                  </a:moveTo>
                  <a:lnTo>
                    <a:pt x="97155" y="84773"/>
                  </a:lnTo>
                  <a:lnTo>
                    <a:pt x="97155" y="84773"/>
                  </a:lnTo>
                  <a:lnTo>
                    <a:pt x="27623" y="0"/>
                  </a:lnTo>
                  <a:lnTo>
                    <a:pt x="0" y="0"/>
                  </a:lnTo>
                  <a:lnTo>
                    <a:pt x="0" y="140018"/>
                  </a:lnTo>
                  <a:lnTo>
                    <a:pt x="31433" y="140018"/>
                  </a:lnTo>
                  <a:lnTo>
                    <a:pt x="31433" y="55245"/>
                  </a:lnTo>
                  <a:lnTo>
                    <a:pt x="100965" y="140018"/>
                  </a:lnTo>
                  <a:lnTo>
                    <a:pt x="100965" y="140018"/>
                  </a:lnTo>
                  <a:lnTo>
                    <a:pt x="128588" y="140018"/>
                  </a:lnTo>
                  <a:lnTo>
                    <a:pt x="128588" y="0"/>
                  </a:lnTo>
                  <a:lnTo>
                    <a:pt x="97155" y="0"/>
                  </a:lnTo>
                  <a:lnTo>
                    <a:pt x="97155" y="84773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</p:grpSp>
      <p:cxnSp>
        <p:nvCxnSpPr>
          <p:cNvPr id="26" name="Gerade Verbindung 6">
            <a:extLst>
              <a:ext uri="{FF2B5EF4-FFF2-40B4-BE49-F238E27FC236}">
                <a16:creationId xmlns:a16="http://schemas.microsoft.com/office/drawing/2014/main" id="{F928CE7E-8C7A-4B33-B8C3-EDDFC32A627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ltGray">
          <a:xfrm>
            <a:off x="838550" y="5076540"/>
            <a:ext cx="2070135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fik 8">
            <a:extLst>
              <a:ext uri="{FF2B5EF4-FFF2-40B4-BE49-F238E27FC236}">
                <a16:creationId xmlns:a16="http://schemas.microsoft.com/office/drawing/2014/main" id="{016F4891-A071-483E-ACA5-15E0957FAF90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 bwMode="gray">
          <a:xfrm>
            <a:off x="849418" y="698004"/>
            <a:ext cx="2666471" cy="776880"/>
            <a:chOff x="4005262" y="2405061"/>
            <a:chExt cx="1134427" cy="330517"/>
          </a:xfrm>
        </p:grpSpPr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3D41737A-F4F3-4F43-9DDC-2D34F373E60E}"/>
                </a:ext>
              </a:extLst>
            </p:cNvPr>
            <p:cNvSpPr/>
            <p:nvPr/>
          </p:nvSpPr>
          <p:spPr bwMode="gray">
            <a:xfrm>
              <a:off x="4092891" y="2406967"/>
              <a:ext cx="153352" cy="140017"/>
            </a:xfrm>
            <a:custGeom>
              <a:avLst/>
              <a:gdLst>
                <a:gd name="connsiteX0" fmla="*/ 58103 w 153352"/>
                <a:gd name="connsiteY0" fmla="*/ 54293 h 140017"/>
                <a:gd name="connsiteX1" fmla="*/ 46673 w 153352"/>
                <a:gd name="connsiteY1" fmla="*/ 42863 h 140017"/>
                <a:gd name="connsiteX2" fmla="*/ 58103 w 153352"/>
                <a:gd name="connsiteY2" fmla="*/ 31433 h 140017"/>
                <a:gd name="connsiteX3" fmla="*/ 138113 w 153352"/>
                <a:gd name="connsiteY3" fmla="*/ 31433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2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2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2 w 153352"/>
                <a:gd name="connsiteY14" fmla="*/ 140018 h 140017"/>
                <a:gd name="connsiteX15" fmla="*/ 139065 w 153352"/>
                <a:gd name="connsiteY15" fmla="*/ 97155 h 140017"/>
                <a:gd name="connsiteX16" fmla="*/ 96202 w 153352"/>
                <a:gd name="connsiteY16" fmla="*/ 54292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3"/>
                  </a:moveTo>
                  <a:cubicBezTo>
                    <a:pt x="51790" y="54293"/>
                    <a:pt x="46673" y="49175"/>
                    <a:pt x="46673" y="42863"/>
                  </a:cubicBezTo>
                  <a:cubicBezTo>
                    <a:pt x="46673" y="36550"/>
                    <a:pt x="51790" y="31433"/>
                    <a:pt x="58103" y="31433"/>
                  </a:cubicBezTo>
                  <a:lnTo>
                    <a:pt x="138113" y="31433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2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2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2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2"/>
                    <a:pt x="96202" y="5429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588E4BEB-1D5A-4375-8B0F-12B279484386}"/>
                </a:ext>
              </a:extLst>
            </p:cNvPr>
            <p:cNvSpPr/>
            <p:nvPr/>
          </p:nvSpPr>
          <p:spPr bwMode="gray">
            <a:xfrm>
              <a:off x="4704397" y="2407919"/>
              <a:ext cx="143827" cy="139064"/>
            </a:xfrm>
            <a:custGeom>
              <a:avLst/>
              <a:gdLst>
                <a:gd name="connsiteX0" fmla="*/ 50482 w 143827"/>
                <a:gd name="connsiteY0" fmla="*/ 88583 h 139064"/>
                <a:gd name="connsiteX1" fmla="*/ 50482 w 143827"/>
                <a:gd name="connsiteY1" fmla="*/ 88583 h 139064"/>
                <a:gd name="connsiteX2" fmla="*/ 71438 w 143827"/>
                <a:gd name="connsiteY2" fmla="*/ 32385 h 139064"/>
                <a:gd name="connsiteX3" fmla="*/ 72390 w 143827"/>
                <a:gd name="connsiteY3" fmla="*/ 32385 h 139064"/>
                <a:gd name="connsiteX4" fmla="*/ 93345 w 143827"/>
                <a:gd name="connsiteY4" fmla="*/ 88583 h 139064"/>
                <a:gd name="connsiteX5" fmla="*/ 50482 w 143827"/>
                <a:gd name="connsiteY5" fmla="*/ 88583 h 139064"/>
                <a:gd name="connsiteX6" fmla="*/ 49530 w 143827"/>
                <a:gd name="connsiteY6" fmla="*/ 0 h 139064"/>
                <a:gd name="connsiteX7" fmla="*/ 0 w 143827"/>
                <a:gd name="connsiteY7" fmla="*/ 139065 h 139064"/>
                <a:gd name="connsiteX8" fmla="*/ 33338 w 143827"/>
                <a:gd name="connsiteY8" fmla="*/ 139065 h 139064"/>
                <a:gd name="connsiteX9" fmla="*/ 40957 w 143827"/>
                <a:gd name="connsiteY9" fmla="*/ 118110 h 139064"/>
                <a:gd name="connsiteX10" fmla="*/ 102870 w 143827"/>
                <a:gd name="connsiteY10" fmla="*/ 118110 h 139064"/>
                <a:gd name="connsiteX11" fmla="*/ 110490 w 143827"/>
                <a:gd name="connsiteY11" fmla="*/ 139065 h 139064"/>
                <a:gd name="connsiteX12" fmla="*/ 143827 w 143827"/>
                <a:gd name="connsiteY12" fmla="*/ 139065 h 139064"/>
                <a:gd name="connsiteX13" fmla="*/ 94298 w 143827"/>
                <a:gd name="connsiteY13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27" h="139064">
                  <a:moveTo>
                    <a:pt x="50482" y="88583"/>
                  </a:moveTo>
                  <a:lnTo>
                    <a:pt x="50482" y="88583"/>
                  </a:lnTo>
                  <a:lnTo>
                    <a:pt x="71438" y="32385"/>
                  </a:lnTo>
                  <a:lnTo>
                    <a:pt x="72390" y="32385"/>
                  </a:lnTo>
                  <a:lnTo>
                    <a:pt x="93345" y="88583"/>
                  </a:lnTo>
                  <a:lnTo>
                    <a:pt x="50482" y="88583"/>
                  </a:lnTo>
                  <a:close/>
                  <a:moveTo>
                    <a:pt x="49530" y="0"/>
                  </a:moveTo>
                  <a:lnTo>
                    <a:pt x="0" y="139065"/>
                  </a:lnTo>
                  <a:lnTo>
                    <a:pt x="33338" y="139065"/>
                  </a:lnTo>
                  <a:lnTo>
                    <a:pt x="40957" y="118110"/>
                  </a:lnTo>
                  <a:lnTo>
                    <a:pt x="102870" y="118110"/>
                  </a:lnTo>
                  <a:lnTo>
                    <a:pt x="110490" y="139065"/>
                  </a:lnTo>
                  <a:lnTo>
                    <a:pt x="143827" y="139065"/>
                  </a:lnTo>
                  <a:lnTo>
                    <a:pt x="94298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3354A867-3D89-4590-86E5-8C8364F2A535}"/>
                </a:ext>
              </a:extLst>
            </p:cNvPr>
            <p:cNvSpPr/>
            <p:nvPr/>
          </p:nvSpPr>
          <p:spPr bwMode="gray">
            <a:xfrm>
              <a:off x="4408169" y="2407919"/>
              <a:ext cx="126682" cy="139064"/>
            </a:xfrm>
            <a:custGeom>
              <a:avLst/>
              <a:gdLst>
                <a:gd name="connsiteX0" fmla="*/ 95250 w 126682"/>
                <a:gd name="connsiteY0" fmla="*/ 54293 h 139064"/>
                <a:gd name="connsiteX1" fmla="*/ 31432 w 126682"/>
                <a:gd name="connsiteY1" fmla="*/ 54293 h 139064"/>
                <a:gd name="connsiteX2" fmla="*/ 31432 w 126682"/>
                <a:gd name="connsiteY2" fmla="*/ 0 h 139064"/>
                <a:gd name="connsiteX3" fmla="*/ 0 w 126682"/>
                <a:gd name="connsiteY3" fmla="*/ 0 h 139064"/>
                <a:gd name="connsiteX4" fmla="*/ 0 w 126682"/>
                <a:gd name="connsiteY4" fmla="*/ 139065 h 139064"/>
                <a:gd name="connsiteX5" fmla="*/ 31432 w 126682"/>
                <a:gd name="connsiteY5" fmla="*/ 139065 h 139064"/>
                <a:gd name="connsiteX6" fmla="*/ 31432 w 126682"/>
                <a:gd name="connsiteY6" fmla="*/ 85725 h 139064"/>
                <a:gd name="connsiteX7" fmla="*/ 95250 w 126682"/>
                <a:gd name="connsiteY7" fmla="*/ 85725 h 139064"/>
                <a:gd name="connsiteX8" fmla="*/ 95250 w 126682"/>
                <a:gd name="connsiteY8" fmla="*/ 139065 h 139064"/>
                <a:gd name="connsiteX9" fmla="*/ 126682 w 126682"/>
                <a:gd name="connsiteY9" fmla="*/ 139065 h 139064"/>
                <a:gd name="connsiteX10" fmla="*/ 126682 w 126682"/>
                <a:gd name="connsiteY10" fmla="*/ 0 h 139064"/>
                <a:gd name="connsiteX11" fmla="*/ 95250 w 126682"/>
                <a:gd name="connsiteY11" fmla="*/ 0 h 139064"/>
                <a:gd name="connsiteX12" fmla="*/ 95250 w 126682"/>
                <a:gd name="connsiteY12" fmla="*/ 5429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682" h="139064">
                  <a:moveTo>
                    <a:pt x="95250" y="54293"/>
                  </a:moveTo>
                  <a:lnTo>
                    <a:pt x="31432" y="54293"/>
                  </a:lnTo>
                  <a:lnTo>
                    <a:pt x="31432" y="0"/>
                  </a:ln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85725"/>
                  </a:lnTo>
                  <a:lnTo>
                    <a:pt x="95250" y="85725"/>
                  </a:lnTo>
                  <a:lnTo>
                    <a:pt x="95250" y="139065"/>
                  </a:lnTo>
                  <a:lnTo>
                    <a:pt x="126682" y="139065"/>
                  </a:lnTo>
                  <a:lnTo>
                    <a:pt x="126682" y="0"/>
                  </a:lnTo>
                  <a:lnTo>
                    <a:pt x="95250" y="0"/>
                  </a:lnTo>
                  <a:lnTo>
                    <a:pt x="95250" y="5429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FC052557-F39B-4C81-A11F-D3F6C630051A}"/>
                </a:ext>
              </a:extLst>
            </p:cNvPr>
            <p:cNvSpPr/>
            <p:nvPr/>
          </p:nvSpPr>
          <p:spPr bwMode="gray">
            <a:xfrm>
              <a:off x="5043487" y="2407919"/>
              <a:ext cx="96202" cy="139064"/>
            </a:xfrm>
            <a:custGeom>
              <a:avLst/>
              <a:gdLst>
                <a:gd name="connsiteX0" fmla="*/ 55245 w 96202"/>
                <a:gd name="connsiteY0" fmla="*/ 0 h 139064"/>
                <a:gd name="connsiteX1" fmla="*/ 0 w 96202"/>
                <a:gd name="connsiteY1" fmla="*/ 69533 h 139064"/>
                <a:gd name="connsiteX2" fmla="*/ 55245 w 96202"/>
                <a:gd name="connsiteY2" fmla="*/ 139065 h 139064"/>
                <a:gd name="connsiteX3" fmla="*/ 96202 w 96202"/>
                <a:gd name="connsiteY3" fmla="*/ 139065 h 139064"/>
                <a:gd name="connsiteX4" fmla="*/ 40958 w 96202"/>
                <a:gd name="connsiteY4" fmla="*/ 69533 h 139064"/>
                <a:gd name="connsiteX5" fmla="*/ 96202 w 96202"/>
                <a:gd name="connsiteY5" fmla="*/ 0 h 139064"/>
                <a:gd name="connsiteX6" fmla="*/ 55245 w 96202"/>
                <a:gd name="connsiteY6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202" h="139064">
                  <a:moveTo>
                    <a:pt x="55245" y="0"/>
                  </a:moveTo>
                  <a:lnTo>
                    <a:pt x="0" y="69533"/>
                  </a:lnTo>
                  <a:lnTo>
                    <a:pt x="55245" y="139065"/>
                  </a:lnTo>
                  <a:lnTo>
                    <a:pt x="96202" y="139065"/>
                  </a:lnTo>
                  <a:lnTo>
                    <a:pt x="40958" y="69533"/>
                  </a:lnTo>
                  <a:lnTo>
                    <a:pt x="96202" y="0"/>
                  </a:lnTo>
                  <a:lnTo>
                    <a:pt x="55245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884E155B-DD29-4533-994F-127E4CB98D2E}"/>
                </a:ext>
              </a:extLst>
            </p:cNvPr>
            <p:cNvSpPr/>
            <p:nvPr/>
          </p:nvSpPr>
          <p:spPr bwMode="gray">
            <a:xfrm>
              <a:off x="5007292" y="2407919"/>
              <a:ext cx="31432" cy="139065"/>
            </a:xfrm>
            <a:custGeom>
              <a:avLst/>
              <a:gdLst>
                <a:gd name="connsiteX0" fmla="*/ 0 w 31432"/>
                <a:gd name="connsiteY0" fmla="*/ 0 h 139065"/>
                <a:gd name="connsiteX1" fmla="*/ 31433 w 31432"/>
                <a:gd name="connsiteY1" fmla="*/ 0 h 139065"/>
                <a:gd name="connsiteX2" fmla="*/ 31433 w 31432"/>
                <a:gd name="connsiteY2" fmla="*/ 139065 h 139065"/>
                <a:gd name="connsiteX3" fmla="*/ 0 w 31432"/>
                <a:gd name="connsiteY3" fmla="*/ 139065 h 13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" h="139065">
                  <a:moveTo>
                    <a:pt x="0" y="0"/>
                  </a:moveTo>
                  <a:lnTo>
                    <a:pt x="31433" y="0"/>
                  </a:lnTo>
                  <a:lnTo>
                    <a:pt x="31433" y="139065"/>
                  </a:lnTo>
                  <a:lnTo>
                    <a:pt x="0" y="13906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25C4CEE-63A9-49FF-89A0-FD37A443AE5C}"/>
                </a:ext>
              </a:extLst>
            </p:cNvPr>
            <p:cNvSpPr/>
            <p:nvPr/>
          </p:nvSpPr>
          <p:spPr bwMode="gray">
            <a:xfrm>
              <a:off x="4565331" y="2407919"/>
              <a:ext cx="126682" cy="139064"/>
            </a:xfrm>
            <a:custGeom>
              <a:avLst/>
              <a:gdLst>
                <a:gd name="connsiteX0" fmla="*/ 31432 w 126682"/>
                <a:gd name="connsiteY0" fmla="*/ 31433 h 139064"/>
                <a:gd name="connsiteX1" fmla="*/ 77153 w 126682"/>
                <a:gd name="connsiteY1" fmla="*/ 31433 h 139064"/>
                <a:gd name="connsiteX2" fmla="*/ 92393 w 126682"/>
                <a:gd name="connsiteY2" fmla="*/ 46673 h 139064"/>
                <a:gd name="connsiteX3" fmla="*/ 77153 w 126682"/>
                <a:gd name="connsiteY3" fmla="*/ 61913 h 139064"/>
                <a:gd name="connsiteX4" fmla="*/ 31432 w 126682"/>
                <a:gd name="connsiteY4" fmla="*/ 61913 h 139064"/>
                <a:gd name="connsiteX5" fmla="*/ 123825 w 126682"/>
                <a:gd name="connsiteY5" fmla="*/ 46673 h 139064"/>
                <a:gd name="connsiteX6" fmla="*/ 77153 w 126682"/>
                <a:gd name="connsiteY6" fmla="*/ 0 h 139064"/>
                <a:gd name="connsiteX7" fmla="*/ 0 w 126682"/>
                <a:gd name="connsiteY7" fmla="*/ 0 h 139064"/>
                <a:gd name="connsiteX8" fmla="*/ 0 w 126682"/>
                <a:gd name="connsiteY8" fmla="*/ 139065 h 139064"/>
                <a:gd name="connsiteX9" fmla="*/ 31432 w 126682"/>
                <a:gd name="connsiteY9" fmla="*/ 139065 h 139064"/>
                <a:gd name="connsiteX10" fmla="*/ 31432 w 126682"/>
                <a:gd name="connsiteY10" fmla="*/ 92393 h 139064"/>
                <a:gd name="connsiteX11" fmla="*/ 57150 w 126682"/>
                <a:gd name="connsiteY11" fmla="*/ 92393 h 139064"/>
                <a:gd name="connsiteX12" fmla="*/ 88582 w 126682"/>
                <a:gd name="connsiteY12" fmla="*/ 139065 h 139064"/>
                <a:gd name="connsiteX13" fmla="*/ 126682 w 126682"/>
                <a:gd name="connsiteY13" fmla="*/ 139065 h 139064"/>
                <a:gd name="connsiteX14" fmla="*/ 93345 w 126682"/>
                <a:gd name="connsiteY14" fmla="*/ 89535 h 139064"/>
                <a:gd name="connsiteX15" fmla="*/ 123825 w 126682"/>
                <a:gd name="connsiteY15" fmla="*/ 4667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682" h="139064">
                  <a:moveTo>
                    <a:pt x="31432" y="31433"/>
                  </a:moveTo>
                  <a:lnTo>
                    <a:pt x="77153" y="31433"/>
                  </a:lnTo>
                  <a:cubicBezTo>
                    <a:pt x="85569" y="31433"/>
                    <a:pt x="92393" y="38256"/>
                    <a:pt x="92393" y="46673"/>
                  </a:cubicBezTo>
                  <a:cubicBezTo>
                    <a:pt x="92393" y="55089"/>
                    <a:pt x="85569" y="61913"/>
                    <a:pt x="77153" y="61913"/>
                  </a:cubicBezTo>
                  <a:lnTo>
                    <a:pt x="31432" y="61913"/>
                  </a:lnTo>
                  <a:close/>
                  <a:moveTo>
                    <a:pt x="123825" y="46673"/>
                  </a:moveTo>
                  <a:cubicBezTo>
                    <a:pt x="123773" y="20918"/>
                    <a:pt x="102907" y="52"/>
                    <a:pt x="77153" y="0"/>
                  </a:cubicBez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92393"/>
                  </a:lnTo>
                  <a:lnTo>
                    <a:pt x="57150" y="92393"/>
                  </a:lnTo>
                  <a:lnTo>
                    <a:pt x="88582" y="139065"/>
                  </a:lnTo>
                  <a:lnTo>
                    <a:pt x="126682" y="139065"/>
                  </a:lnTo>
                  <a:lnTo>
                    <a:pt x="93345" y="89535"/>
                  </a:lnTo>
                  <a:cubicBezTo>
                    <a:pt x="111440" y="82990"/>
                    <a:pt x="123584" y="65914"/>
                    <a:pt x="123825" y="4667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367488AA-1424-43D9-AEF0-0DA10007AED1}"/>
                </a:ext>
              </a:extLst>
            </p:cNvPr>
            <p:cNvSpPr/>
            <p:nvPr/>
          </p:nvSpPr>
          <p:spPr bwMode="gray">
            <a:xfrm>
              <a:off x="4248149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1816 w 141922"/>
                <a:gd name="connsiteY10" fmla="*/ 31433 h 144780"/>
                <a:gd name="connsiteX11" fmla="*/ 72390 w 141922"/>
                <a:gd name="connsiteY11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274" y="49928"/>
                    <a:pt x="49355" y="31591"/>
                    <a:pt x="71816" y="31433"/>
                  </a:cubicBezTo>
                  <a:cubicBezTo>
                    <a:pt x="72008" y="31431"/>
                    <a:pt x="72199" y="31431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E775D829-E4AE-4D56-9006-BAEC491F71C6}"/>
                </a:ext>
              </a:extLst>
            </p:cNvPr>
            <p:cNvSpPr/>
            <p:nvPr/>
          </p:nvSpPr>
          <p:spPr bwMode="gray">
            <a:xfrm>
              <a:off x="4847272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936" y="49982"/>
                    <a:pt x="49982" y="31936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B26388F5-1825-434C-A55E-FCFD6645A726}"/>
                </a:ext>
              </a:extLst>
            </p:cNvPr>
            <p:cNvSpPr/>
            <p:nvPr/>
          </p:nvSpPr>
          <p:spPr bwMode="gray">
            <a:xfrm>
              <a:off x="4005262" y="2592704"/>
              <a:ext cx="153352" cy="140017"/>
            </a:xfrm>
            <a:custGeom>
              <a:avLst/>
              <a:gdLst>
                <a:gd name="connsiteX0" fmla="*/ 58103 w 153352"/>
                <a:gd name="connsiteY0" fmla="*/ 54292 h 140017"/>
                <a:gd name="connsiteX1" fmla="*/ 46673 w 153352"/>
                <a:gd name="connsiteY1" fmla="*/ 42862 h 140017"/>
                <a:gd name="connsiteX2" fmla="*/ 58103 w 153352"/>
                <a:gd name="connsiteY2" fmla="*/ 31432 h 140017"/>
                <a:gd name="connsiteX3" fmla="*/ 138113 w 153352"/>
                <a:gd name="connsiteY3" fmla="*/ 31432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3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3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3 w 153352"/>
                <a:gd name="connsiteY14" fmla="*/ 140018 h 140017"/>
                <a:gd name="connsiteX15" fmla="*/ 139065 w 153352"/>
                <a:gd name="connsiteY15" fmla="*/ 97155 h 140017"/>
                <a:gd name="connsiteX16" fmla="*/ 96203 w 153352"/>
                <a:gd name="connsiteY16" fmla="*/ 5429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2"/>
                  </a:moveTo>
                  <a:cubicBezTo>
                    <a:pt x="51790" y="54292"/>
                    <a:pt x="46673" y="49175"/>
                    <a:pt x="46673" y="42862"/>
                  </a:cubicBezTo>
                  <a:cubicBezTo>
                    <a:pt x="46673" y="36550"/>
                    <a:pt x="51790" y="31432"/>
                    <a:pt x="58103" y="31432"/>
                  </a:cubicBezTo>
                  <a:lnTo>
                    <a:pt x="138113" y="31432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3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3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3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3"/>
                    <a:pt x="96203" y="54293"/>
                  </a:cubicBez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F227CB2C-9B1D-4BDC-A2B5-CBDD7BFD3454}"/>
                </a:ext>
              </a:extLst>
            </p:cNvPr>
            <p:cNvSpPr/>
            <p:nvPr/>
          </p:nvSpPr>
          <p:spPr bwMode="gray">
            <a:xfrm>
              <a:off x="4914899" y="2592704"/>
              <a:ext cx="124777" cy="140017"/>
            </a:xfrm>
            <a:custGeom>
              <a:avLst/>
              <a:gdLst>
                <a:gd name="connsiteX0" fmla="*/ 0 w 124777"/>
                <a:gd name="connsiteY0" fmla="*/ 0 h 140017"/>
                <a:gd name="connsiteX1" fmla="*/ 0 w 124777"/>
                <a:gd name="connsiteY1" fmla="*/ 32385 h 140017"/>
                <a:gd name="connsiteX2" fmla="*/ 46673 w 124777"/>
                <a:gd name="connsiteY2" fmla="*/ 32385 h 140017"/>
                <a:gd name="connsiteX3" fmla="*/ 46673 w 124777"/>
                <a:gd name="connsiteY3" fmla="*/ 140018 h 140017"/>
                <a:gd name="connsiteX4" fmla="*/ 78105 w 124777"/>
                <a:gd name="connsiteY4" fmla="*/ 140018 h 140017"/>
                <a:gd name="connsiteX5" fmla="*/ 78105 w 124777"/>
                <a:gd name="connsiteY5" fmla="*/ 32385 h 140017"/>
                <a:gd name="connsiteX6" fmla="*/ 124777 w 124777"/>
                <a:gd name="connsiteY6" fmla="*/ 32385 h 140017"/>
                <a:gd name="connsiteX7" fmla="*/ 124777 w 124777"/>
                <a:gd name="connsiteY7" fmla="*/ 0 h 140017"/>
                <a:gd name="connsiteX8" fmla="*/ 0 w 124777"/>
                <a:gd name="connsiteY8" fmla="*/ 0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777" h="140017">
                  <a:moveTo>
                    <a:pt x="0" y="0"/>
                  </a:moveTo>
                  <a:lnTo>
                    <a:pt x="0" y="32385"/>
                  </a:lnTo>
                  <a:lnTo>
                    <a:pt x="46673" y="32385"/>
                  </a:lnTo>
                  <a:lnTo>
                    <a:pt x="46673" y="140018"/>
                  </a:lnTo>
                  <a:lnTo>
                    <a:pt x="78105" y="140018"/>
                  </a:lnTo>
                  <a:lnTo>
                    <a:pt x="78105" y="32385"/>
                  </a:lnTo>
                  <a:lnTo>
                    <a:pt x="124777" y="32385"/>
                  </a:lnTo>
                  <a:lnTo>
                    <a:pt x="1247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1B81C7C1-139C-47B7-8B70-762B11A77492}"/>
                </a:ext>
              </a:extLst>
            </p:cNvPr>
            <p:cNvSpPr/>
            <p:nvPr/>
          </p:nvSpPr>
          <p:spPr bwMode="gray">
            <a:xfrm>
              <a:off x="4179569" y="2592704"/>
              <a:ext cx="110490" cy="140017"/>
            </a:xfrm>
            <a:custGeom>
              <a:avLst/>
              <a:gdLst>
                <a:gd name="connsiteX0" fmla="*/ 0 w 110490"/>
                <a:gd name="connsiteY0" fmla="*/ 140018 h 140017"/>
                <a:gd name="connsiteX1" fmla="*/ 110490 w 110490"/>
                <a:gd name="connsiteY1" fmla="*/ 140018 h 140017"/>
                <a:gd name="connsiteX2" fmla="*/ 110490 w 110490"/>
                <a:gd name="connsiteY2" fmla="*/ 107632 h 140017"/>
                <a:gd name="connsiteX3" fmla="*/ 32385 w 110490"/>
                <a:gd name="connsiteY3" fmla="*/ 107632 h 140017"/>
                <a:gd name="connsiteX4" fmla="*/ 32385 w 110490"/>
                <a:gd name="connsiteY4" fmla="*/ 84773 h 140017"/>
                <a:gd name="connsiteX5" fmla="*/ 102870 w 110490"/>
                <a:gd name="connsiteY5" fmla="*/ 84773 h 140017"/>
                <a:gd name="connsiteX6" fmla="*/ 102870 w 110490"/>
                <a:gd name="connsiteY6" fmla="*/ 55245 h 140017"/>
                <a:gd name="connsiteX7" fmla="*/ 32385 w 110490"/>
                <a:gd name="connsiteY7" fmla="*/ 55245 h 140017"/>
                <a:gd name="connsiteX8" fmla="*/ 32385 w 110490"/>
                <a:gd name="connsiteY8" fmla="*/ 32385 h 140017"/>
                <a:gd name="connsiteX9" fmla="*/ 110490 w 110490"/>
                <a:gd name="connsiteY9" fmla="*/ 32385 h 140017"/>
                <a:gd name="connsiteX10" fmla="*/ 110490 w 110490"/>
                <a:gd name="connsiteY10" fmla="*/ 0 h 140017"/>
                <a:gd name="connsiteX11" fmla="*/ 0 w 110490"/>
                <a:gd name="connsiteY11" fmla="*/ 0 h 140017"/>
                <a:gd name="connsiteX12" fmla="*/ 0 w 110490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90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AF238801-257E-43F2-8423-732B54E6A003}"/>
                </a:ext>
              </a:extLst>
            </p:cNvPr>
            <p:cNvSpPr/>
            <p:nvPr/>
          </p:nvSpPr>
          <p:spPr bwMode="gray">
            <a:xfrm>
              <a:off x="4787264" y="2592704"/>
              <a:ext cx="110489" cy="140017"/>
            </a:xfrm>
            <a:custGeom>
              <a:avLst/>
              <a:gdLst>
                <a:gd name="connsiteX0" fmla="*/ 0 w 110489"/>
                <a:gd name="connsiteY0" fmla="*/ 140018 h 140017"/>
                <a:gd name="connsiteX1" fmla="*/ 110490 w 110489"/>
                <a:gd name="connsiteY1" fmla="*/ 140018 h 140017"/>
                <a:gd name="connsiteX2" fmla="*/ 110490 w 110489"/>
                <a:gd name="connsiteY2" fmla="*/ 107632 h 140017"/>
                <a:gd name="connsiteX3" fmla="*/ 32385 w 110489"/>
                <a:gd name="connsiteY3" fmla="*/ 107632 h 140017"/>
                <a:gd name="connsiteX4" fmla="*/ 32385 w 110489"/>
                <a:gd name="connsiteY4" fmla="*/ 84773 h 140017"/>
                <a:gd name="connsiteX5" fmla="*/ 102870 w 110489"/>
                <a:gd name="connsiteY5" fmla="*/ 84773 h 140017"/>
                <a:gd name="connsiteX6" fmla="*/ 102870 w 110489"/>
                <a:gd name="connsiteY6" fmla="*/ 55245 h 140017"/>
                <a:gd name="connsiteX7" fmla="*/ 32385 w 110489"/>
                <a:gd name="connsiteY7" fmla="*/ 55245 h 140017"/>
                <a:gd name="connsiteX8" fmla="*/ 32385 w 110489"/>
                <a:gd name="connsiteY8" fmla="*/ 32385 h 140017"/>
                <a:gd name="connsiteX9" fmla="*/ 110490 w 110489"/>
                <a:gd name="connsiteY9" fmla="*/ 32385 h 140017"/>
                <a:gd name="connsiteX10" fmla="*/ 110490 w 110489"/>
                <a:gd name="connsiteY10" fmla="*/ 0 h 140017"/>
                <a:gd name="connsiteX11" fmla="*/ 0 w 110489"/>
                <a:gd name="connsiteY11" fmla="*/ 0 h 140017"/>
                <a:gd name="connsiteX12" fmla="*/ 0 w 110489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89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FB88744A-928D-4529-B831-14C780490B43}"/>
                </a:ext>
              </a:extLst>
            </p:cNvPr>
            <p:cNvSpPr/>
            <p:nvPr/>
          </p:nvSpPr>
          <p:spPr bwMode="gray">
            <a:xfrm>
              <a:off x="4309109" y="2590799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3862 w 141922"/>
                <a:gd name="connsiteY8" fmla="*/ 108633 h 144780"/>
                <a:gd name="connsiteX9" fmla="*/ 35716 w 141922"/>
                <a:gd name="connsiteY9" fmla="*/ 5391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484" y="110610"/>
                    <a:pt x="73984" y="118734"/>
                    <a:pt x="53862" y="108633"/>
                  </a:cubicBezTo>
                  <a:cubicBezTo>
                    <a:pt x="33740" y="98533"/>
                    <a:pt x="25615" y="74032"/>
                    <a:pt x="35716" y="53910"/>
                  </a:cubicBezTo>
                  <a:cubicBezTo>
                    <a:pt x="42672" y="40053"/>
                    <a:pt x="56886" y="31342"/>
                    <a:pt x="72390" y="31433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F8A9D9C-A072-4DA8-9B6C-7F7309928E8B}"/>
                </a:ext>
              </a:extLst>
            </p:cNvPr>
            <p:cNvSpPr/>
            <p:nvPr/>
          </p:nvSpPr>
          <p:spPr bwMode="gray">
            <a:xfrm>
              <a:off x="4467224" y="2590799"/>
              <a:ext cx="144779" cy="144780"/>
            </a:xfrm>
            <a:custGeom>
              <a:avLst/>
              <a:gdLst>
                <a:gd name="connsiteX0" fmla="*/ 72390 w 144779"/>
                <a:gd name="connsiteY0" fmla="*/ 0 h 144780"/>
                <a:gd name="connsiteX1" fmla="*/ 0 w 144779"/>
                <a:gd name="connsiteY1" fmla="*/ 72390 h 144780"/>
                <a:gd name="connsiteX2" fmla="*/ 72390 w 144779"/>
                <a:gd name="connsiteY2" fmla="*/ 144780 h 144780"/>
                <a:gd name="connsiteX3" fmla="*/ 144780 w 144779"/>
                <a:gd name="connsiteY3" fmla="*/ 72390 h 144780"/>
                <a:gd name="connsiteX4" fmla="*/ 72390 w 144779"/>
                <a:gd name="connsiteY4" fmla="*/ 0 h 144780"/>
                <a:gd name="connsiteX5" fmla="*/ 72390 w 144779"/>
                <a:gd name="connsiteY5" fmla="*/ 112395 h 144780"/>
                <a:gd name="connsiteX6" fmla="*/ 31432 w 144779"/>
                <a:gd name="connsiteY6" fmla="*/ 71438 h 144780"/>
                <a:gd name="connsiteX7" fmla="*/ 72390 w 144779"/>
                <a:gd name="connsiteY7" fmla="*/ 30480 h 144780"/>
                <a:gd name="connsiteX8" fmla="*/ 113347 w 144779"/>
                <a:gd name="connsiteY8" fmla="*/ 71438 h 144780"/>
                <a:gd name="connsiteX9" fmla="*/ 72964 w 144779"/>
                <a:gd name="connsiteY9" fmla="*/ 112395 h 144780"/>
                <a:gd name="connsiteX10" fmla="*/ 72390 w 144779"/>
                <a:gd name="connsiteY10" fmla="*/ 112395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779" h="144780">
                  <a:moveTo>
                    <a:pt x="72390" y="0"/>
                  </a:move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12370" y="144780"/>
                    <a:pt x="144780" y="112370"/>
                    <a:pt x="144780" y="72390"/>
                  </a:cubicBezTo>
                  <a:cubicBezTo>
                    <a:pt x="144780" y="32410"/>
                    <a:pt x="112370" y="0"/>
                    <a:pt x="72390" y="0"/>
                  </a:cubicBezTo>
                  <a:moveTo>
                    <a:pt x="72390" y="112395"/>
                  </a:moveTo>
                  <a:cubicBezTo>
                    <a:pt x="49770" y="112395"/>
                    <a:pt x="31432" y="94058"/>
                    <a:pt x="31432" y="71438"/>
                  </a:cubicBezTo>
                  <a:cubicBezTo>
                    <a:pt x="31432" y="48817"/>
                    <a:pt x="49770" y="30480"/>
                    <a:pt x="72390" y="30480"/>
                  </a:cubicBezTo>
                  <a:cubicBezTo>
                    <a:pt x="95010" y="30480"/>
                    <a:pt x="113347" y="48817"/>
                    <a:pt x="113347" y="71438"/>
                  </a:cubicBezTo>
                  <a:cubicBezTo>
                    <a:pt x="113506" y="93899"/>
                    <a:pt x="95425" y="112237"/>
                    <a:pt x="72964" y="112395"/>
                  </a:cubicBezTo>
                  <a:cubicBezTo>
                    <a:pt x="72772" y="112396"/>
                    <a:pt x="72581" y="112396"/>
                    <a:pt x="72390" y="112395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C7D80B54-3F1B-4C99-B084-5E4672296C89}"/>
                </a:ext>
              </a:extLst>
            </p:cNvPr>
            <p:cNvSpPr/>
            <p:nvPr/>
          </p:nvSpPr>
          <p:spPr bwMode="gray">
            <a:xfrm>
              <a:off x="4631054" y="2592704"/>
              <a:ext cx="128587" cy="140017"/>
            </a:xfrm>
            <a:custGeom>
              <a:avLst/>
              <a:gdLst>
                <a:gd name="connsiteX0" fmla="*/ 97155 w 128587"/>
                <a:gd name="connsiteY0" fmla="*/ 84773 h 140017"/>
                <a:gd name="connsiteX1" fmla="*/ 97155 w 128587"/>
                <a:gd name="connsiteY1" fmla="*/ 84773 h 140017"/>
                <a:gd name="connsiteX2" fmla="*/ 97155 w 128587"/>
                <a:gd name="connsiteY2" fmla="*/ 84773 h 140017"/>
                <a:gd name="connsiteX3" fmla="*/ 27623 w 128587"/>
                <a:gd name="connsiteY3" fmla="*/ 0 h 140017"/>
                <a:gd name="connsiteX4" fmla="*/ 0 w 128587"/>
                <a:gd name="connsiteY4" fmla="*/ 0 h 140017"/>
                <a:gd name="connsiteX5" fmla="*/ 0 w 128587"/>
                <a:gd name="connsiteY5" fmla="*/ 140018 h 140017"/>
                <a:gd name="connsiteX6" fmla="*/ 31433 w 128587"/>
                <a:gd name="connsiteY6" fmla="*/ 140018 h 140017"/>
                <a:gd name="connsiteX7" fmla="*/ 31433 w 128587"/>
                <a:gd name="connsiteY7" fmla="*/ 55245 h 140017"/>
                <a:gd name="connsiteX8" fmla="*/ 100965 w 128587"/>
                <a:gd name="connsiteY8" fmla="*/ 140018 h 140017"/>
                <a:gd name="connsiteX9" fmla="*/ 100965 w 128587"/>
                <a:gd name="connsiteY9" fmla="*/ 140018 h 140017"/>
                <a:gd name="connsiteX10" fmla="*/ 128588 w 128587"/>
                <a:gd name="connsiteY10" fmla="*/ 140018 h 140017"/>
                <a:gd name="connsiteX11" fmla="*/ 128588 w 128587"/>
                <a:gd name="connsiteY11" fmla="*/ 0 h 140017"/>
                <a:gd name="connsiteX12" fmla="*/ 97155 w 128587"/>
                <a:gd name="connsiteY12" fmla="*/ 0 h 140017"/>
                <a:gd name="connsiteX13" fmla="*/ 97155 w 128587"/>
                <a:gd name="connsiteY13" fmla="*/ 8477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587" h="140017">
                  <a:moveTo>
                    <a:pt x="97155" y="84773"/>
                  </a:moveTo>
                  <a:lnTo>
                    <a:pt x="97155" y="84773"/>
                  </a:lnTo>
                  <a:lnTo>
                    <a:pt x="97155" y="84773"/>
                  </a:lnTo>
                  <a:lnTo>
                    <a:pt x="27623" y="0"/>
                  </a:lnTo>
                  <a:lnTo>
                    <a:pt x="0" y="0"/>
                  </a:lnTo>
                  <a:lnTo>
                    <a:pt x="0" y="140018"/>
                  </a:lnTo>
                  <a:lnTo>
                    <a:pt x="31433" y="140018"/>
                  </a:lnTo>
                  <a:lnTo>
                    <a:pt x="31433" y="55245"/>
                  </a:lnTo>
                  <a:lnTo>
                    <a:pt x="100965" y="140018"/>
                  </a:lnTo>
                  <a:lnTo>
                    <a:pt x="100965" y="140018"/>
                  </a:lnTo>
                  <a:lnTo>
                    <a:pt x="128588" y="140018"/>
                  </a:lnTo>
                  <a:lnTo>
                    <a:pt x="128588" y="0"/>
                  </a:lnTo>
                  <a:lnTo>
                    <a:pt x="97155" y="0"/>
                  </a:lnTo>
                  <a:lnTo>
                    <a:pt x="97155" y="84773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35118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 bwMode="gray">
          <a:xfrm>
            <a:off x="839789" y="1462125"/>
            <a:ext cx="5157787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838856" y="1796400"/>
            <a:ext cx="5157787" cy="4167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  <p:custDataLst>
              <p:tags r:id="rId3"/>
            </p:custDataLst>
          </p:nvPr>
        </p:nvSpPr>
        <p:spPr bwMode="gray">
          <a:xfrm>
            <a:off x="6172201" y="1462125"/>
            <a:ext cx="5183188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4"/>
            </p:custDataLst>
          </p:nvPr>
        </p:nvSpPr>
        <p:spPr>
          <a:xfrm>
            <a:off x="6172201" y="1796400"/>
            <a:ext cx="5183188" cy="4167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4C5656D-8835-4ABD-9878-A5923A76062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C3AC67B5-E9BE-41A0-9945-972D66A3F365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6849C482-D6CD-48C3-A962-FA9F6CB46A4C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199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D901A007-C123-C145-B30D-0ACD442B9966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0" y="0"/>
            <a:ext cx="12192000" cy="6855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FF5F897-DFDA-4913-BB7A-BC2D7A630809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981D728-7B8E-49DC-965D-FD0582EA472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55954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 2 Info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D901A007-C123-C145-B30D-0ACD442B9966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0" y="0"/>
            <a:ext cx="12192000" cy="6855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E290EB88-7775-4DED-9DEA-85BAD278568E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 bwMode="ltGray">
          <a:xfrm>
            <a:off x="838200" y="5420785"/>
            <a:ext cx="3151717" cy="1435100"/>
          </a:xfrm>
          <a:prstGeom prst="rect">
            <a:avLst/>
          </a:prstGeom>
          <a:solidFill>
            <a:schemeClr val="accent5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9B911DC0-B6C0-4180-A782-E906EC1D9DB1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 bwMode="ltGray">
          <a:xfrm>
            <a:off x="4458143" y="5420785"/>
            <a:ext cx="6761794" cy="1435100"/>
          </a:xfrm>
          <a:prstGeom prst="rect">
            <a:avLst/>
          </a:prstGeom>
          <a:solidFill>
            <a:schemeClr val="accent2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68B6FA-81F4-4FFC-AA1C-522795BB4051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 bwMode="white">
          <a:xfrm>
            <a:off x="4637825" y="5954185"/>
            <a:ext cx="6468325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335D2DE-CBD3-4C06-932E-508F2AECEA6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 bwMode="white">
          <a:xfrm>
            <a:off x="972063" y="5954183"/>
            <a:ext cx="2817183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BA29DE-EB9F-4884-8A65-2E801E7155C4}"/>
              </a:ext>
            </a:extLst>
          </p:cNvPr>
          <p:cNvSpPr>
            <a:spLocks noGrp="1"/>
          </p:cNvSpPr>
          <p:nvPr>
            <p:ph type="sldNum" sz="quarter" idx="24"/>
            <p:custDataLst>
              <p:tags r:id="rId6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70B597-6B9F-44A6-94C9-7D145546B39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839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, 3 Info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A785289-E131-3D4E-8A0E-C10A64861168}"/>
              </a:ext>
            </a:extLst>
          </p:cNvPr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>
          <a:xfrm>
            <a:off x="0" y="0"/>
            <a:ext cx="12192000" cy="6855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5F40461F-CB49-4D79-90E6-4604719C073E}"/>
              </a:ext>
            </a:extLst>
          </p:cNvPr>
          <p:cNvSpPr>
            <a:spLocks noGrp="1"/>
          </p:cNvSpPr>
          <p:nvPr>
            <p:ph type="body" sz="quarter" idx="28"/>
            <p:custDataLst>
              <p:tags r:id="rId2"/>
            </p:custDataLst>
          </p:nvPr>
        </p:nvSpPr>
        <p:spPr bwMode="ltGray">
          <a:xfrm>
            <a:off x="838200" y="5420785"/>
            <a:ext cx="3151717" cy="1435100"/>
          </a:xfrm>
          <a:prstGeom prst="rect">
            <a:avLst/>
          </a:prstGeom>
          <a:solidFill>
            <a:schemeClr val="accent5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CB345836-8C61-487F-8AAB-ED6C703F5E95}"/>
              </a:ext>
            </a:extLst>
          </p:cNvPr>
          <p:cNvSpPr>
            <a:spLocks noGrp="1"/>
          </p:cNvSpPr>
          <p:nvPr>
            <p:ph type="body" sz="quarter" idx="29"/>
            <p:custDataLst>
              <p:tags r:id="rId3"/>
            </p:custDataLst>
          </p:nvPr>
        </p:nvSpPr>
        <p:spPr bwMode="ltGray">
          <a:xfrm>
            <a:off x="4458143" y="5420785"/>
            <a:ext cx="3146784" cy="1435100"/>
          </a:xfrm>
          <a:prstGeom prst="rect">
            <a:avLst/>
          </a:prstGeom>
          <a:solidFill>
            <a:schemeClr val="accent2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6DA96025-07F4-474B-9869-C78EF94A90D6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4"/>
            </p:custDataLst>
          </p:nvPr>
        </p:nvSpPr>
        <p:spPr bwMode="ltGray">
          <a:xfrm>
            <a:off x="8073153" y="5420785"/>
            <a:ext cx="3146784" cy="1435100"/>
          </a:xfrm>
          <a:prstGeom prst="rect">
            <a:avLst/>
          </a:prstGeom>
          <a:solidFill>
            <a:schemeClr val="accent3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8147E6AA-3FBB-438D-9EFE-FDBFAD849449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 bwMode="white">
          <a:xfrm>
            <a:off x="4637825" y="5954185"/>
            <a:ext cx="2833981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B9152D0C-5F85-42A1-999B-28A18ECAB608}"/>
              </a:ext>
            </a:extLst>
          </p:cNvPr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 bwMode="white">
          <a:xfrm>
            <a:off x="972063" y="5954183"/>
            <a:ext cx="2817183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FFA9E4E4-497C-4399-AD2A-5EE51F896DE0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7"/>
            </p:custDataLst>
          </p:nvPr>
        </p:nvSpPr>
        <p:spPr bwMode="white">
          <a:xfrm>
            <a:off x="8231650" y="5954185"/>
            <a:ext cx="2833981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105521D-BE6D-46CC-B7FB-C34E9B90F7D9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8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B5CCAB-CE3A-4B19-A849-D5654E4C0564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4106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nfobox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9E96F573-8832-474C-B662-A7336475B63A}"/>
              </a:ext>
            </a:extLst>
          </p:cNvPr>
          <p:cNvSpPr/>
          <p:nvPr>
            <p:custDataLst>
              <p:tags r:id="rId1"/>
            </p:custDataLst>
          </p:nvPr>
        </p:nvSpPr>
        <p:spPr bwMode="ltGray">
          <a:xfrm>
            <a:off x="836861" y="3103530"/>
            <a:ext cx="11364680" cy="1817159"/>
          </a:xfrm>
          <a:prstGeom prst="rect">
            <a:avLst/>
          </a:prstGeom>
          <a:solidFill>
            <a:srgbClr val="14285C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FF3AD00-4673-4E22-B11D-14FFB84BE8E0}"/>
              </a:ext>
            </a:extLst>
          </p:cNvPr>
          <p:cNvSpPr>
            <a:spLocks noGrp="1"/>
          </p:cNvSpPr>
          <p:nvPr>
            <p:ph type="body" sz="quarter" idx="34"/>
            <p:custDataLst>
              <p:tags r:id="rId2"/>
            </p:custDataLst>
          </p:nvPr>
        </p:nvSpPr>
        <p:spPr bwMode="white">
          <a:xfrm>
            <a:off x="6464300" y="3276600"/>
            <a:ext cx="4876800" cy="1473200"/>
          </a:xfrm>
        </p:spPr>
        <p:txBody>
          <a:bodyPr/>
          <a:lstStyle>
            <a:lvl1pPr>
              <a:spcBef>
                <a:spcPts val="400"/>
              </a:spcBef>
              <a:defRPr sz="14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2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2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2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7E2056-4F56-45E0-9B87-B868C0F937D3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3"/>
            </p:custDataLst>
          </p:nvPr>
        </p:nvSpPr>
        <p:spPr bwMode="white">
          <a:xfrm>
            <a:off x="1219200" y="3276600"/>
            <a:ext cx="4876800" cy="1473200"/>
          </a:xfrm>
        </p:spPr>
        <p:txBody>
          <a:bodyPr/>
          <a:lstStyle>
            <a:lvl1pPr>
              <a:spcBef>
                <a:spcPts val="400"/>
              </a:spcBef>
              <a:defRPr sz="14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2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2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2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D45453-DCE1-A243-87C6-8E4AF529CD5B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838855" y="1452600"/>
            <a:ext cx="10516284" cy="1439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E6E106C-CFCB-440A-AC43-E80321FE3696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C14576-FA41-4BE1-ABC2-9635741C6B73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F850985-CCE2-42A4-81F3-146D40B0A6D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7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19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BFE90F3-3EB2-7E4A-9B74-06D81195261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123091" y="1749501"/>
            <a:ext cx="1931634" cy="16819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7D162AA-C34E-481F-9A2D-254773E7B43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3A4027-111F-4897-BE31-9E3FD411FFD3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89A49D7-5BB9-415D-987F-30E9B8550ACB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4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3539F904-E3A0-4C13-AB55-DD1F69A2191E}"/>
              </a:ext>
            </a:extLst>
          </p:cNvPr>
          <p:cNvSpPr>
            <a:spLocks noGrp="1"/>
          </p:cNvSpPr>
          <p:nvPr>
            <p:ph type="body" sz="quarter" idx="42" hasCustomPrompt="1"/>
            <p:custDataLst>
              <p:tags r:id="rId5"/>
            </p:custDataLst>
          </p:nvPr>
        </p:nvSpPr>
        <p:spPr>
          <a:xfrm>
            <a:off x="5767457" y="1749501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7D4B7E9F-2518-4332-8C6E-007ADF7E7204}"/>
              </a:ext>
            </a:extLst>
          </p:cNvPr>
          <p:cNvSpPr>
            <a:spLocks noGrp="1"/>
          </p:cNvSpPr>
          <p:nvPr>
            <p:ph type="body" sz="quarter" idx="44" hasCustomPrompt="1"/>
            <p:custDataLst>
              <p:tags r:id="rId6"/>
            </p:custDataLst>
          </p:nvPr>
        </p:nvSpPr>
        <p:spPr>
          <a:xfrm>
            <a:off x="9414053" y="1749501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8DA22245-6CA6-4347-9762-088744E7C3FE}"/>
              </a:ext>
            </a:extLst>
          </p:cNvPr>
          <p:cNvSpPr>
            <a:spLocks noGrp="1"/>
          </p:cNvSpPr>
          <p:nvPr>
            <p:ph type="body" sz="quarter" idx="46" hasCustomPrompt="1"/>
            <p:custDataLst>
              <p:tags r:id="rId7"/>
            </p:custDataLst>
          </p:nvPr>
        </p:nvSpPr>
        <p:spPr>
          <a:xfrm>
            <a:off x="2123091" y="3834474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624FC1D6-6732-429D-B6E4-BB7AC89A17D8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8"/>
            </p:custDataLst>
          </p:nvPr>
        </p:nvSpPr>
        <p:spPr>
          <a:xfrm>
            <a:off x="5767457" y="3834474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E19DBD08-ADAF-4B00-97D8-7341911A3060}"/>
              </a:ext>
            </a:extLst>
          </p:cNvPr>
          <p:cNvSpPr>
            <a:spLocks noGrp="1"/>
          </p:cNvSpPr>
          <p:nvPr>
            <p:ph type="body" sz="quarter" idx="50" hasCustomPrompt="1"/>
            <p:custDataLst>
              <p:tags r:id="rId9"/>
            </p:custDataLst>
          </p:nvPr>
        </p:nvSpPr>
        <p:spPr>
          <a:xfrm>
            <a:off x="9414053" y="3834474"/>
            <a:ext cx="1931634" cy="16819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23" name="Bildplatzhalter 12">
            <a:extLst>
              <a:ext uri="{FF2B5EF4-FFF2-40B4-BE49-F238E27FC236}">
                <a16:creationId xmlns:a16="http://schemas.microsoft.com/office/drawing/2014/main" id="{2DAA9E41-D083-4DDE-B5E9-040B2065777D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0"/>
            </p:custDataLst>
          </p:nvPr>
        </p:nvSpPr>
        <p:spPr>
          <a:xfrm>
            <a:off x="849640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4" name="Bildplatzhalter 12">
            <a:extLst>
              <a:ext uri="{FF2B5EF4-FFF2-40B4-BE49-F238E27FC236}">
                <a16:creationId xmlns:a16="http://schemas.microsoft.com/office/drawing/2014/main" id="{86A1D578-3CB2-4B5B-BA3F-B237C3488CC8}"/>
              </a:ext>
            </a:extLst>
          </p:cNvPr>
          <p:cNvSpPr>
            <a:spLocks noGrp="1"/>
          </p:cNvSpPr>
          <p:nvPr>
            <p:ph type="pic" sz="quarter" idx="49"/>
            <p:custDataLst>
              <p:tags r:id="rId11"/>
            </p:custDataLst>
          </p:nvPr>
        </p:nvSpPr>
        <p:spPr>
          <a:xfrm>
            <a:off x="849640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5" name="Bildplatzhalter 12">
            <a:extLst>
              <a:ext uri="{FF2B5EF4-FFF2-40B4-BE49-F238E27FC236}">
                <a16:creationId xmlns:a16="http://schemas.microsoft.com/office/drawing/2014/main" id="{5D4E95E7-0276-4F90-943C-09FBFEFF5E44}"/>
              </a:ext>
            </a:extLst>
          </p:cNvPr>
          <p:cNvSpPr>
            <a:spLocks noGrp="1"/>
          </p:cNvSpPr>
          <p:nvPr>
            <p:ph type="pic" sz="quarter" idx="57"/>
            <p:custDataLst>
              <p:tags r:id="rId12"/>
            </p:custDataLst>
          </p:nvPr>
        </p:nvSpPr>
        <p:spPr>
          <a:xfrm>
            <a:off x="8148715" y="1749500"/>
            <a:ext cx="1191679" cy="168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1200" dirty="0">
                <a:latin typeface="+mn-lt"/>
              </a:defRPr>
            </a:lvl1pPr>
          </a:lstStyle>
          <a:p>
            <a:pPr marL="0" lvl="0" indent="0">
              <a:buNone/>
            </a:pPr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6" name="Bildplatzhalter 12">
            <a:extLst>
              <a:ext uri="{FF2B5EF4-FFF2-40B4-BE49-F238E27FC236}">
                <a16:creationId xmlns:a16="http://schemas.microsoft.com/office/drawing/2014/main" id="{29EB91E6-F05F-4BE6-BB4A-18ECB6A36900}"/>
              </a:ext>
            </a:extLst>
          </p:cNvPr>
          <p:cNvSpPr>
            <a:spLocks noGrp="1"/>
          </p:cNvSpPr>
          <p:nvPr>
            <p:ph type="pic" sz="quarter" idx="60"/>
            <p:custDataLst>
              <p:tags r:id="rId13"/>
            </p:custDataLst>
          </p:nvPr>
        </p:nvSpPr>
        <p:spPr>
          <a:xfrm>
            <a:off x="8148715" y="3834473"/>
            <a:ext cx="1194797" cy="168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1200" dirty="0">
                <a:latin typeface="+mn-lt"/>
              </a:defRPr>
            </a:lvl1pPr>
          </a:lstStyle>
          <a:p>
            <a:pPr marL="0" lvl="0" indent="0">
              <a:buNone/>
            </a:pPr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9168CBD5-B953-4D73-BED4-1DF7478E16EB}"/>
              </a:ext>
            </a:extLst>
          </p:cNvPr>
          <p:cNvSpPr>
            <a:spLocks noGrp="1"/>
          </p:cNvSpPr>
          <p:nvPr>
            <p:ph type="pic" sz="quarter" idx="63"/>
            <p:custDataLst>
              <p:tags r:id="rId14"/>
            </p:custDataLst>
          </p:nvPr>
        </p:nvSpPr>
        <p:spPr>
          <a:xfrm>
            <a:off x="4503193" y="1749500"/>
            <a:ext cx="1191679" cy="168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1200" dirty="0">
                <a:latin typeface="+mn-lt"/>
              </a:defRPr>
            </a:lvl1pPr>
          </a:lstStyle>
          <a:p>
            <a:pPr marL="0" lvl="0" indent="0">
              <a:buNone/>
            </a:pPr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39" name="Bildplatzhalter 12">
            <a:extLst>
              <a:ext uri="{FF2B5EF4-FFF2-40B4-BE49-F238E27FC236}">
                <a16:creationId xmlns:a16="http://schemas.microsoft.com/office/drawing/2014/main" id="{D7BB518A-FC93-4CA5-9E88-EEE8412CC684}"/>
              </a:ext>
            </a:extLst>
          </p:cNvPr>
          <p:cNvSpPr>
            <a:spLocks noGrp="1"/>
          </p:cNvSpPr>
          <p:nvPr>
            <p:ph type="pic" sz="quarter" idx="66"/>
            <p:custDataLst>
              <p:tags r:id="rId15"/>
            </p:custDataLst>
          </p:nvPr>
        </p:nvSpPr>
        <p:spPr>
          <a:xfrm>
            <a:off x="4503193" y="3834473"/>
            <a:ext cx="1194797" cy="168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z="1200" dirty="0">
                <a:latin typeface="+mn-lt"/>
              </a:defRPr>
            </a:lvl1pPr>
          </a:lstStyle>
          <a:p>
            <a:pPr marL="0" lvl="0" indent="0">
              <a:buNone/>
            </a:pPr>
            <a:r>
              <a:rPr lang="cs-CZ"/>
              <a:t>Kliknutím na ikonu přidáte obrázek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81217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, Überschriften &amp;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7C3A479-4E03-4672-9D34-E4EEBF0F3CF6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1"/>
            </p:custDataLst>
          </p:nvPr>
        </p:nvSpPr>
        <p:spPr>
          <a:xfrm>
            <a:off x="2123091" y="2008717"/>
            <a:ext cx="1929949" cy="1420283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  <a:lvl2pPr marL="249760" indent="0">
              <a:buNone/>
              <a:defRPr/>
            </a:lvl2pPr>
            <a:lvl3pPr marL="488937" indent="0">
              <a:buNone/>
              <a:defRPr/>
            </a:lvl3pPr>
            <a:lvl4pPr marL="725998" indent="0">
              <a:buNone/>
              <a:defRPr/>
            </a:lvl4pPr>
            <a:lvl5pPr marL="965176" indent="0">
              <a:buNone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EEB5F78-61CC-C143-9B36-8FB3DC69713E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2123091" y="1749501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26" name="Bildplatzhalter 12">
            <a:extLst>
              <a:ext uri="{FF2B5EF4-FFF2-40B4-BE49-F238E27FC236}">
                <a16:creationId xmlns:a16="http://schemas.microsoft.com/office/drawing/2014/main" id="{070BD0F2-44D2-9C43-95E5-B7D4DC302D1C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3"/>
            </p:custDataLst>
          </p:nvPr>
        </p:nvSpPr>
        <p:spPr>
          <a:xfrm>
            <a:off x="849640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6DFEFF1E-5414-482A-AEFB-C5143AF1188E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4"/>
            </p:custDataLst>
          </p:nvPr>
        </p:nvSpPr>
        <p:spPr>
          <a:xfrm>
            <a:off x="2123090" y="4100879"/>
            <a:ext cx="1931634" cy="1420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cs-CZ"/>
              <a:t>Po kliknutí můžete upravovat styly textu v předloze.</a:t>
            </a:r>
          </a:p>
        </p:txBody>
      </p:sp>
      <p:sp>
        <p:nvSpPr>
          <p:cNvPr id="35" name="Textplatzhalter 11">
            <a:extLst>
              <a:ext uri="{FF2B5EF4-FFF2-40B4-BE49-F238E27FC236}">
                <a16:creationId xmlns:a16="http://schemas.microsoft.com/office/drawing/2014/main" id="{B4A31EAE-C539-4D63-97F8-2060BDE44F5E}"/>
              </a:ext>
            </a:extLst>
          </p:cNvPr>
          <p:cNvSpPr>
            <a:spLocks noGrp="1"/>
          </p:cNvSpPr>
          <p:nvPr>
            <p:ph type="body" sz="quarter" idx="45" hasCustomPrompt="1"/>
            <p:custDataLst>
              <p:tags r:id="rId5"/>
            </p:custDataLst>
          </p:nvPr>
        </p:nvSpPr>
        <p:spPr>
          <a:xfrm>
            <a:off x="2123640" y="3839206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39" name="Bildplatzhalter 12">
            <a:extLst>
              <a:ext uri="{FF2B5EF4-FFF2-40B4-BE49-F238E27FC236}">
                <a16:creationId xmlns:a16="http://schemas.microsoft.com/office/drawing/2014/main" id="{48D04ED6-3455-40D3-A1A7-E43F9DD0DB88}"/>
              </a:ext>
            </a:extLst>
          </p:cNvPr>
          <p:cNvSpPr>
            <a:spLocks noGrp="1"/>
          </p:cNvSpPr>
          <p:nvPr>
            <p:ph type="pic" sz="quarter" idx="49"/>
            <p:custDataLst>
              <p:tags r:id="rId6"/>
            </p:custDataLst>
          </p:nvPr>
        </p:nvSpPr>
        <p:spPr>
          <a:xfrm>
            <a:off x="849640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14FE324-8CFA-4ADB-90A0-895F96510DA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E2561B1-0E98-4EA2-B6D6-2C5BAF842838}"/>
              </a:ext>
            </a:extLst>
          </p:cNvPr>
          <p:cNvSpPr>
            <a:spLocks noGrp="1"/>
          </p:cNvSpPr>
          <p:nvPr>
            <p:ph type="ftr" sz="quarter" idx="53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59F6D52B-3977-42A4-805C-3463C816D09D}"/>
              </a:ext>
            </a:extLst>
          </p:cNvPr>
          <p:cNvSpPr>
            <a:spLocks noGrp="1"/>
          </p:cNvSpPr>
          <p:nvPr>
            <p:ph type="sldNum" sz="quarter" idx="54"/>
            <p:custDataLst>
              <p:tags r:id="rId9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C589473C-1D86-4991-BFB3-FB5D58AC531C}"/>
              </a:ext>
            </a:extLst>
          </p:cNvPr>
          <p:cNvSpPr>
            <a:spLocks noGrp="1"/>
          </p:cNvSpPr>
          <p:nvPr>
            <p:ph type="body" sz="quarter" idx="55"/>
            <p:custDataLst>
              <p:tags r:id="rId10"/>
            </p:custDataLst>
          </p:nvPr>
        </p:nvSpPr>
        <p:spPr>
          <a:xfrm>
            <a:off x="9422166" y="2008717"/>
            <a:ext cx="1929949" cy="1420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cs-CZ"/>
              <a:t>Po kliknutí můžete upravovat styly textu v předloze.</a:t>
            </a:r>
          </a:p>
        </p:txBody>
      </p:sp>
      <p:sp>
        <p:nvSpPr>
          <p:cNvPr id="46" name="Textplatzhalter 11">
            <a:extLst>
              <a:ext uri="{FF2B5EF4-FFF2-40B4-BE49-F238E27FC236}">
                <a16:creationId xmlns:a16="http://schemas.microsoft.com/office/drawing/2014/main" id="{83B33A51-B31C-4F4E-AECF-AC413E4C0B26}"/>
              </a:ext>
            </a:extLst>
          </p:cNvPr>
          <p:cNvSpPr>
            <a:spLocks noGrp="1"/>
          </p:cNvSpPr>
          <p:nvPr>
            <p:ph type="body" sz="quarter" idx="56" hasCustomPrompt="1"/>
            <p:custDataLst>
              <p:tags r:id="rId11"/>
            </p:custDataLst>
          </p:nvPr>
        </p:nvSpPr>
        <p:spPr>
          <a:xfrm>
            <a:off x="9422166" y="1749501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47" name="Bildplatzhalter 12">
            <a:extLst>
              <a:ext uri="{FF2B5EF4-FFF2-40B4-BE49-F238E27FC236}">
                <a16:creationId xmlns:a16="http://schemas.microsoft.com/office/drawing/2014/main" id="{21776B3E-CE93-44A6-A347-C8C126B71575}"/>
              </a:ext>
            </a:extLst>
          </p:cNvPr>
          <p:cNvSpPr>
            <a:spLocks noGrp="1"/>
          </p:cNvSpPr>
          <p:nvPr>
            <p:ph type="pic" sz="quarter" idx="57"/>
            <p:custDataLst>
              <p:tags r:id="rId12"/>
            </p:custDataLst>
          </p:nvPr>
        </p:nvSpPr>
        <p:spPr>
          <a:xfrm>
            <a:off x="8148715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CA3D4226-EE60-4D37-BFC8-1AF9FB7A9BA5}"/>
              </a:ext>
            </a:extLst>
          </p:cNvPr>
          <p:cNvSpPr>
            <a:spLocks noGrp="1"/>
          </p:cNvSpPr>
          <p:nvPr>
            <p:ph type="body" sz="quarter" idx="58"/>
            <p:custDataLst>
              <p:tags r:id="rId13"/>
            </p:custDataLst>
          </p:nvPr>
        </p:nvSpPr>
        <p:spPr>
          <a:xfrm>
            <a:off x="9422165" y="4100879"/>
            <a:ext cx="1931634" cy="1420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cs-CZ"/>
              <a:t>Po kliknutí můžete upravovat styly textu v předloze.</a:t>
            </a:r>
          </a:p>
        </p:txBody>
      </p:sp>
      <p:sp>
        <p:nvSpPr>
          <p:cNvPr id="49" name="Textplatzhalter 11">
            <a:extLst>
              <a:ext uri="{FF2B5EF4-FFF2-40B4-BE49-F238E27FC236}">
                <a16:creationId xmlns:a16="http://schemas.microsoft.com/office/drawing/2014/main" id="{B483C676-0012-416A-8E69-134FFE17C0D6}"/>
              </a:ext>
            </a:extLst>
          </p:cNvPr>
          <p:cNvSpPr>
            <a:spLocks noGrp="1"/>
          </p:cNvSpPr>
          <p:nvPr>
            <p:ph type="body" sz="quarter" idx="59" hasCustomPrompt="1"/>
            <p:custDataLst>
              <p:tags r:id="rId14"/>
            </p:custDataLst>
          </p:nvPr>
        </p:nvSpPr>
        <p:spPr>
          <a:xfrm>
            <a:off x="9422715" y="3839206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50" name="Bildplatzhalter 12">
            <a:extLst>
              <a:ext uri="{FF2B5EF4-FFF2-40B4-BE49-F238E27FC236}">
                <a16:creationId xmlns:a16="http://schemas.microsoft.com/office/drawing/2014/main" id="{85D2BED1-F136-4390-9A1C-BE7D599C8931}"/>
              </a:ext>
            </a:extLst>
          </p:cNvPr>
          <p:cNvSpPr>
            <a:spLocks noGrp="1"/>
          </p:cNvSpPr>
          <p:nvPr>
            <p:ph type="pic" sz="quarter" idx="60"/>
            <p:custDataLst>
              <p:tags r:id="rId15"/>
            </p:custDataLst>
          </p:nvPr>
        </p:nvSpPr>
        <p:spPr>
          <a:xfrm>
            <a:off x="8148715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51" name="Textplatzhalter 5">
            <a:extLst>
              <a:ext uri="{FF2B5EF4-FFF2-40B4-BE49-F238E27FC236}">
                <a16:creationId xmlns:a16="http://schemas.microsoft.com/office/drawing/2014/main" id="{6D6CE4F1-D3AE-4015-A3AE-07749879026E}"/>
              </a:ext>
            </a:extLst>
          </p:cNvPr>
          <p:cNvSpPr>
            <a:spLocks noGrp="1"/>
          </p:cNvSpPr>
          <p:nvPr>
            <p:ph type="body" sz="quarter" idx="61"/>
            <p:custDataLst>
              <p:tags r:id="rId16"/>
            </p:custDataLst>
          </p:nvPr>
        </p:nvSpPr>
        <p:spPr>
          <a:xfrm>
            <a:off x="5776644" y="2008717"/>
            <a:ext cx="1929949" cy="1420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cs-CZ"/>
              <a:t>Po kliknutí můžete upravovat styly textu v předloze.</a:t>
            </a:r>
          </a:p>
        </p:txBody>
      </p:sp>
      <p:sp>
        <p:nvSpPr>
          <p:cNvPr id="52" name="Textplatzhalter 11">
            <a:extLst>
              <a:ext uri="{FF2B5EF4-FFF2-40B4-BE49-F238E27FC236}">
                <a16:creationId xmlns:a16="http://schemas.microsoft.com/office/drawing/2014/main" id="{4E56FF23-6F7C-4673-86C1-4E1E8A1C9DC5}"/>
              </a:ext>
            </a:extLst>
          </p:cNvPr>
          <p:cNvSpPr>
            <a:spLocks noGrp="1"/>
          </p:cNvSpPr>
          <p:nvPr>
            <p:ph type="body" sz="quarter" idx="62" hasCustomPrompt="1"/>
            <p:custDataLst>
              <p:tags r:id="rId17"/>
            </p:custDataLst>
          </p:nvPr>
        </p:nvSpPr>
        <p:spPr>
          <a:xfrm>
            <a:off x="5776644" y="1749501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53" name="Bildplatzhalter 12">
            <a:extLst>
              <a:ext uri="{FF2B5EF4-FFF2-40B4-BE49-F238E27FC236}">
                <a16:creationId xmlns:a16="http://schemas.microsoft.com/office/drawing/2014/main" id="{5EFF06C0-144D-430B-8B5D-1223DA436EFA}"/>
              </a:ext>
            </a:extLst>
          </p:cNvPr>
          <p:cNvSpPr>
            <a:spLocks noGrp="1"/>
          </p:cNvSpPr>
          <p:nvPr>
            <p:ph type="pic" sz="quarter" idx="63"/>
            <p:custDataLst>
              <p:tags r:id="rId18"/>
            </p:custDataLst>
          </p:nvPr>
        </p:nvSpPr>
        <p:spPr>
          <a:xfrm>
            <a:off x="4503193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1D7523DC-9F5E-4A0A-BCE0-78FB400C0DC8}"/>
              </a:ext>
            </a:extLst>
          </p:cNvPr>
          <p:cNvSpPr>
            <a:spLocks noGrp="1"/>
          </p:cNvSpPr>
          <p:nvPr>
            <p:ph type="body" sz="quarter" idx="64"/>
            <p:custDataLst>
              <p:tags r:id="rId19"/>
            </p:custDataLst>
          </p:nvPr>
        </p:nvSpPr>
        <p:spPr>
          <a:xfrm>
            <a:off x="5776643" y="4100879"/>
            <a:ext cx="1931634" cy="1420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/>
            </a:lvl1pPr>
          </a:lstStyle>
          <a:p>
            <a:pPr lvl="0">
              <a:spcBef>
                <a:spcPts val="200"/>
              </a:spcBef>
            </a:pPr>
            <a:r>
              <a:rPr lang="cs-CZ"/>
              <a:t>Po kliknutí můžete upravovat styly textu v předloze.</a:t>
            </a:r>
          </a:p>
        </p:txBody>
      </p:sp>
      <p:sp>
        <p:nvSpPr>
          <p:cNvPr id="55" name="Textplatzhalter 11">
            <a:extLst>
              <a:ext uri="{FF2B5EF4-FFF2-40B4-BE49-F238E27FC236}">
                <a16:creationId xmlns:a16="http://schemas.microsoft.com/office/drawing/2014/main" id="{C34ABD49-C14E-4BEB-A479-9BBBB37E74AD}"/>
              </a:ext>
            </a:extLst>
          </p:cNvPr>
          <p:cNvSpPr>
            <a:spLocks noGrp="1"/>
          </p:cNvSpPr>
          <p:nvPr>
            <p:ph type="body" sz="quarter" idx="65" hasCustomPrompt="1"/>
            <p:custDataLst>
              <p:tags r:id="rId20"/>
            </p:custDataLst>
          </p:nvPr>
        </p:nvSpPr>
        <p:spPr>
          <a:xfrm>
            <a:off x="5777193" y="3839206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56" name="Bildplatzhalter 12">
            <a:extLst>
              <a:ext uri="{FF2B5EF4-FFF2-40B4-BE49-F238E27FC236}">
                <a16:creationId xmlns:a16="http://schemas.microsoft.com/office/drawing/2014/main" id="{A3462871-6C7D-43A0-AD26-10C101F605A5}"/>
              </a:ext>
            </a:extLst>
          </p:cNvPr>
          <p:cNvSpPr>
            <a:spLocks noGrp="1"/>
          </p:cNvSpPr>
          <p:nvPr>
            <p:ph type="pic" sz="quarter" idx="66"/>
            <p:custDataLst>
              <p:tags r:id="rId21"/>
            </p:custDataLst>
          </p:nvPr>
        </p:nvSpPr>
        <p:spPr>
          <a:xfrm>
            <a:off x="4503193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004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1242125" y="2078512"/>
            <a:ext cx="468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2"/>
            </p:custDataLst>
          </p:nvPr>
        </p:nvSpPr>
        <p:spPr>
          <a:xfrm>
            <a:off x="6269875" y="2078512"/>
            <a:ext cx="468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cs-CZ" noProof="0"/>
              <a:t>Kliknutím lze upravit styl.</a:t>
            </a:r>
            <a:endParaRPr lang="en-GB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5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5D2D20B-1568-45A5-ABCF-87FF14DBEE9B}"/>
              </a:ext>
            </a:extLst>
          </p:cNvPr>
          <p:cNvSpPr>
            <a:spLocks noGrp="1"/>
          </p:cNvSpPr>
          <p:nvPr>
            <p:ph type="body" sz="quarter" idx="42"/>
            <p:custDataLst>
              <p:tags r:id="rId6"/>
            </p:custDataLst>
          </p:nvPr>
        </p:nvSpPr>
        <p:spPr bwMode="ltGray">
          <a:xfrm>
            <a:off x="1241425" y="4208463"/>
            <a:ext cx="4679950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9B0B89D1-BBBF-4A1E-AA10-B851EAD1A0B3}"/>
              </a:ext>
            </a:extLst>
          </p:cNvPr>
          <p:cNvSpPr>
            <a:spLocks noGrp="1"/>
          </p:cNvSpPr>
          <p:nvPr>
            <p:ph type="body" sz="quarter" idx="43"/>
            <p:custDataLst>
              <p:tags r:id="rId7"/>
            </p:custDataLst>
          </p:nvPr>
        </p:nvSpPr>
        <p:spPr bwMode="ltGray">
          <a:xfrm>
            <a:off x="6269925" y="4208463"/>
            <a:ext cx="4679950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</p:spTree>
    <p:extLst>
      <p:ext uri="{BB962C8B-B14F-4D97-AF65-F5344CB8AC3E}">
        <p14:creationId xmlns:p14="http://schemas.microsoft.com/office/powerpoint/2010/main" val="16791551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860628" y="2078512"/>
            <a:ext cx="3276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2"/>
            </p:custDataLst>
          </p:nvPr>
        </p:nvSpPr>
        <p:spPr>
          <a:xfrm>
            <a:off x="4460768" y="2078512"/>
            <a:ext cx="3276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37" name="Bildplatzhalter 34">
            <a:extLst>
              <a:ext uri="{FF2B5EF4-FFF2-40B4-BE49-F238E27FC236}">
                <a16:creationId xmlns:a16="http://schemas.microsoft.com/office/drawing/2014/main" id="{F36A34E1-5618-CB48-ADC6-17A5BD0D9249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3"/>
            </p:custDataLst>
          </p:nvPr>
        </p:nvSpPr>
        <p:spPr>
          <a:xfrm>
            <a:off x="8065946" y="2078512"/>
            <a:ext cx="3276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cs-CZ" noProof="0"/>
              <a:t>Kliknutím lze upravit styl.</a:t>
            </a:r>
            <a:endParaRPr lang="en-GB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6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8734D5E-6444-49AC-94C2-8FD6DDB91E7F}"/>
              </a:ext>
            </a:extLst>
          </p:cNvPr>
          <p:cNvSpPr>
            <a:spLocks noGrp="1"/>
          </p:cNvSpPr>
          <p:nvPr>
            <p:ph type="body" sz="quarter" idx="42"/>
            <p:custDataLst>
              <p:tags r:id="rId7"/>
            </p:custDataLst>
          </p:nvPr>
        </p:nvSpPr>
        <p:spPr bwMode="ltGray">
          <a:xfrm>
            <a:off x="843894" y="4208463"/>
            <a:ext cx="3292734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25880A8A-5AFD-481B-9D07-AA1EF533714A}"/>
              </a:ext>
            </a:extLst>
          </p:cNvPr>
          <p:cNvSpPr>
            <a:spLocks noGrp="1"/>
          </p:cNvSpPr>
          <p:nvPr>
            <p:ph type="body" sz="quarter" idx="43"/>
            <p:custDataLst>
              <p:tags r:id="rId8"/>
            </p:custDataLst>
          </p:nvPr>
        </p:nvSpPr>
        <p:spPr bwMode="ltGray">
          <a:xfrm>
            <a:off x="4460697" y="4208463"/>
            <a:ext cx="3292734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E4B1F41-36E8-4CC6-9CAE-20492F8CCD6D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9"/>
            </p:custDataLst>
          </p:nvPr>
        </p:nvSpPr>
        <p:spPr bwMode="ltGray">
          <a:xfrm>
            <a:off x="8065946" y="4208463"/>
            <a:ext cx="3292734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</p:spTree>
    <p:extLst>
      <p:ext uri="{BB962C8B-B14F-4D97-AF65-F5344CB8AC3E}">
        <p14:creationId xmlns:p14="http://schemas.microsoft.com/office/powerpoint/2010/main" val="37235709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860628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2"/>
            </p:custDataLst>
          </p:nvPr>
        </p:nvSpPr>
        <p:spPr>
          <a:xfrm>
            <a:off x="3574633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37" name="Bildplatzhalter 34">
            <a:extLst>
              <a:ext uri="{FF2B5EF4-FFF2-40B4-BE49-F238E27FC236}">
                <a16:creationId xmlns:a16="http://schemas.microsoft.com/office/drawing/2014/main" id="{F36A34E1-5618-CB48-ADC6-17A5BD0D9249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3"/>
            </p:custDataLst>
          </p:nvPr>
        </p:nvSpPr>
        <p:spPr>
          <a:xfrm>
            <a:off x="6288638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38" name="Bildplatzhalter 34">
            <a:extLst>
              <a:ext uri="{FF2B5EF4-FFF2-40B4-BE49-F238E27FC236}">
                <a16:creationId xmlns:a16="http://schemas.microsoft.com/office/drawing/2014/main" id="{3760E902-C0FF-6F4D-AF66-6B9B2A06F73A}"/>
              </a:ext>
            </a:extLst>
          </p:cNvPr>
          <p:cNvSpPr>
            <a:spLocks noGrp="1"/>
          </p:cNvSpPr>
          <p:nvPr>
            <p:ph type="pic" sz="quarter" idx="30"/>
            <p:custDataLst>
              <p:tags r:id="rId4"/>
            </p:custDataLst>
          </p:nvPr>
        </p:nvSpPr>
        <p:spPr>
          <a:xfrm>
            <a:off x="9002643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 noProof="0"/>
              <a:t>Kliknutím na ikonu přidáte obrázek.</a:t>
            </a:r>
            <a:endParaRPr lang="en-GB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>
            <a:noAutofit/>
          </a:bodyPr>
          <a:lstStyle/>
          <a:p>
            <a:r>
              <a:rPr lang="cs-CZ" noProof="0"/>
              <a:t>Kliknutím lze upravit styl.</a:t>
            </a:r>
            <a:endParaRPr lang="en-GB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6"/>
            </p:custDataLst>
          </p:nvPr>
        </p:nvSpPr>
        <p:spPr/>
        <p:txBody>
          <a:bodyPr>
            <a:noAutofit/>
          </a:bodyPr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7"/>
            </p:custDataLst>
          </p:nvPr>
        </p:nvSpPr>
        <p:spPr/>
        <p:txBody>
          <a:bodyPr>
            <a:noAutofit/>
          </a:bodyPr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01606BCE-472A-414D-8063-CAEE90A2B335}"/>
              </a:ext>
            </a:extLst>
          </p:cNvPr>
          <p:cNvSpPr>
            <a:spLocks noGrp="1"/>
          </p:cNvSpPr>
          <p:nvPr>
            <p:ph type="body" sz="quarter" idx="42"/>
            <p:custDataLst>
              <p:tags r:id="rId8"/>
            </p:custDataLst>
          </p:nvPr>
        </p:nvSpPr>
        <p:spPr bwMode="ltGray">
          <a:xfrm>
            <a:off x="860628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833B5E07-2919-49C0-BF2F-9AE9A09F9112}"/>
              </a:ext>
            </a:extLst>
          </p:cNvPr>
          <p:cNvSpPr>
            <a:spLocks noGrp="1"/>
          </p:cNvSpPr>
          <p:nvPr>
            <p:ph type="body" sz="quarter" idx="43"/>
            <p:custDataLst>
              <p:tags r:id="rId9"/>
            </p:custDataLst>
          </p:nvPr>
        </p:nvSpPr>
        <p:spPr bwMode="ltGray">
          <a:xfrm>
            <a:off x="3574641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0DFDB0A2-49F7-407D-A9EF-46D120BC2804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10"/>
            </p:custDataLst>
          </p:nvPr>
        </p:nvSpPr>
        <p:spPr bwMode="ltGray">
          <a:xfrm>
            <a:off x="6288654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52D00669-E0BE-418E-ACCF-21E4B1756510}"/>
              </a:ext>
            </a:extLst>
          </p:cNvPr>
          <p:cNvSpPr>
            <a:spLocks noGrp="1"/>
          </p:cNvSpPr>
          <p:nvPr>
            <p:ph type="body" sz="quarter" idx="45"/>
            <p:custDataLst>
              <p:tags r:id="rId11"/>
            </p:custDataLst>
          </p:nvPr>
        </p:nvSpPr>
        <p:spPr bwMode="ltGray">
          <a:xfrm>
            <a:off x="9002668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</p:spTree>
    <p:extLst>
      <p:ext uri="{BB962C8B-B14F-4D97-AF65-F5344CB8AC3E}">
        <p14:creationId xmlns:p14="http://schemas.microsoft.com/office/powerpoint/2010/main" val="3772390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 6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D58A8C-2900-6049-915F-FA0803430AC6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"/>
            </p:custDataLst>
          </p:nvPr>
        </p:nvSpPr>
        <p:spPr bwMode="ltGray">
          <a:xfrm>
            <a:off x="853484" y="1350010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1</a:t>
            </a:r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D2EA184-CE47-AE4D-BD12-B4977B83B9B1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"/>
            </p:custDataLst>
          </p:nvPr>
        </p:nvSpPr>
        <p:spPr bwMode="ltGray">
          <a:xfrm>
            <a:off x="852883" y="2193510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30" name="Textplatzhalter 22">
            <a:extLst>
              <a:ext uri="{FF2B5EF4-FFF2-40B4-BE49-F238E27FC236}">
                <a16:creationId xmlns:a16="http://schemas.microsoft.com/office/drawing/2014/main" id="{DDAF71FF-555A-5349-932B-9D55DACDF78A}"/>
              </a:ext>
            </a:extLst>
          </p:cNvPr>
          <p:cNvSpPr>
            <a:spLocks noGrp="1"/>
          </p:cNvSpPr>
          <p:nvPr>
            <p:ph type="body" sz="quarter" idx="45" hasCustomPrompt="1"/>
            <p:custDataLst>
              <p:tags r:id="rId3"/>
            </p:custDataLst>
          </p:nvPr>
        </p:nvSpPr>
        <p:spPr>
          <a:xfrm>
            <a:off x="852830" y="2791619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31" name="Textplatzhalter 24">
            <a:extLst>
              <a:ext uri="{FF2B5EF4-FFF2-40B4-BE49-F238E27FC236}">
                <a16:creationId xmlns:a16="http://schemas.microsoft.com/office/drawing/2014/main" id="{042FAD95-4472-734C-8601-E02FDEB9A673}"/>
              </a:ext>
            </a:extLst>
          </p:cNvPr>
          <p:cNvSpPr>
            <a:spLocks noGrp="1"/>
          </p:cNvSpPr>
          <p:nvPr>
            <p:ph type="body" sz="quarter" idx="46" hasCustomPrompt="1"/>
            <p:custDataLst>
              <p:tags r:id="rId4"/>
            </p:custDataLst>
          </p:nvPr>
        </p:nvSpPr>
        <p:spPr>
          <a:xfrm>
            <a:off x="1609617" y="2791619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D0F5A4-A7FC-4902-B69C-F4355F933DDD}"/>
              </a:ext>
            </a:extLst>
          </p:cNvPr>
          <p:cNvSpPr>
            <a:spLocks noGrp="1"/>
          </p:cNvSpPr>
          <p:nvPr>
            <p:ph type="ftr" sz="quarter" idx="5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27727F2-679C-4CD5-997E-0F956BF8BF1D}"/>
              </a:ext>
            </a:extLst>
          </p:cNvPr>
          <p:cNvSpPr>
            <a:spLocks noGrp="1"/>
          </p:cNvSpPr>
          <p:nvPr>
            <p:ph type="sldNum" sz="quarter" idx="52"/>
            <p:custDataLst>
              <p:tags r:id="rId6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1CE984F-807E-4B07-87F7-51DB0597704C}"/>
              </a:ext>
            </a:extLst>
          </p:cNvPr>
          <p:cNvSpPr>
            <a:spLocks noGrp="1"/>
          </p:cNvSpPr>
          <p:nvPr>
            <p:ph type="body" sz="quarter" idx="53" hasCustomPrompt="1"/>
            <p:custDataLst>
              <p:tags r:id="rId7"/>
            </p:custDataLst>
          </p:nvPr>
        </p:nvSpPr>
        <p:spPr bwMode="ltGray">
          <a:xfrm>
            <a:off x="519483" y="1530918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cxnSp>
        <p:nvCxnSpPr>
          <p:cNvPr id="36" name="Gerade Verbindung 36">
            <a:extLst>
              <a:ext uri="{FF2B5EF4-FFF2-40B4-BE49-F238E27FC236}">
                <a16:creationId xmlns:a16="http://schemas.microsoft.com/office/drawing/2014/main" id="{CEA2AD0C-D764-4960-AEB5-495DAD1FAD85}"/>
              </a:ext>
            </a:extLst>
          </p:cNvPr>
          <p:cNvCxnSpPr/>
          <p:nvPr>
            <p:custDataLst>
              <p:tags r:id="rId8"/>
            </p:custDataLst>
          </p:nvPr>
        </p:nvCxnSpPr>
        <p:spPr bwMode="ltGray">
          <a:xfrm>
            <a:off x="838855" y="295315"/>
            <a:ext cx="1552601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722C6DF1-71CB-45F0-9CA2-B6096DB3EDEE}"/>
              </a:ext>
            </a:extLst>
          </p:cNvPr>
          <p:cNvSpPr>
            <a:spLocks noGrp="1"/>
          </p:cNvSpPr>
          <p:nvPr>
            <p:ph type="body" sz="quarter" idx="54" hasCustomPrompt="1"/>
            <p:custDataLst>
              <p:tags r:id="rId9"/>
            </p:custDataLst>
          </p:nvPr>
        </p:nvSpPr>
        <p:spPr bwMode="ltGray">
          <a:xfrm>
            <a:off x="853484" y="3893514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4</a:t>
            </a:r>
            <a:endParaRPr lang="en-GB" dirty="0"/>
          </a:p>
        </p:txBody>
      </p:sp>
      <p:sp>
        <p:nvSpPr>
          <p:cNvPr id="38" name="Textplatzhalter 13">
            <a:extLst>
              <a:ext uri="{FF2B5EF4-FFF2-40B4-BE49-F238E27FC236}">
                <a16:creationId xmlns:a16="http://schemas.microsoft.com/office/drawing/2014/main" id="{ABCABD15-2E9D-49C4-9CF6-660CE4BB23C5}"/>
              </a:ext>
            </a:extLst>
          </p:cNvPr>
          <p:cNvSpPr>
            <a:spLocks noGrp="1"/>
          </p:cNvSpPr>
          <p:nvPr>
            <p:ph type="body" sz="quarter" idx="55" hasCustomPrompt="1"/>
            <p:custDataLst>
              <p:tags r:id="rId10"/>
            </p:custDataLst>
          </p:nvPr>
        </p:nvSpPr>
        <p:spPr bwMode="ltGray">
          <a:xfrm>
            <a:off x="852883" y="4737014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E18414FA-07E0-4ED5-898F-91E9C0567877}"/>
              </a:ext>
            </a:extLst>
          </p:cNvPr>
          <p:cNvSpPr>
            <a:spLocks noGrp="1"/>
          </p:cNvSpPr>
          <p:nvPr>
            <p:ph type="body" sz="quarter" idx="56" hasCustomPrompt="1"/>
            <p:custDataLst>
              <p:tags r:id="rId11"/>
            </p:custDataLst>
          </p:nvPr>
        </p:nvSpPr>
        <p:spPr>
          <a:xfrm>
            <a:off x="852830" y="5335123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45" name="Textplatzhalter 24">
            <a:extLst>
              <a:ext uri="{FF2B5EF4-FFF2-40B4-BE49-F238E27FC236}">
                <a16:creationId xmlns:a16="http://schemas.microsoft.com/office/drawing/2014/main" id="{5A90D21B-9A11-4185-AF72-29ED00A05827}"/>
              </a:ext>
            </a:extLst>
          </p:cNvPr>
          <p:cNvSpPr>
            <a:spLocks noGrp="1"/>
          </p:cNvSpPr>
          <p:nvPr>
            <p:ph type="body" sz="quarter" idx="57" hasCustomPrompt="1"/>
            <p:custDataLst>
              <p:tags r:id="rId12"/>
            </p:custDataLst>
          </p:nvPr>
        </p:nvSpPr>
        <p:spPr>
          <a:xfrm>
            <a:off x="1609617" y="5335123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46" name="Textplatzhalter 20">
            <a:extLst>
              <a:ext uri="{FF2B5EF4-FFF2-40B4-BE49-F238E27FC236}">
                <a16:creationId xmlns:a16="http://schemas.microsoft.com/office/drawing/2014/main" id="{C846AD34-80BD-4A11-9F94-C3E597EE981D}"/>
              </a:ext>
            </a:extLst>
          </p:cNvPr>
          <p:cNvSpPr>
            <a:spLocks noGrp="1"/>
          </p:cNvSpPr>
          <p:nvPr>
            <p:ph type="body" sz="quarter" idx="58" hasCustomPrompt="1"/>
            <p:custDataLst>
              <p:tags r:id="rId13"/>
            </p:custDataLst>
          </p:nvPr>
        </p:nvSpPr>
        <p:spPr bwMode="ltGray">
          <a:xfrm>
            <a:off x="519483" y="4074422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278F4ED-85A8-406D-830C-5EC95C967CBC}"/>
              </a:ext>
            </a:extLst>
          </p:cNvPr>
          <p:cNvSpPr>
            <a:spLocks noGrp="1"/>
          </p:cNvSpPr>
          <p:nvPr>
            <p:ph type="body" sz="quarter" idx="59" hasCustomPrompt="1"/>
            <p:custDataLst>
              <p:tags r:id="rId14"/>
            </p:custDataLst>
          </p:nvPr>
        </p:nvSpPr>
        <p:spPr bwMode="ltGray">
          <a:xfrm>
            <a:off x="8336850" y="1350010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3</a:t>
            </a:r>
            <a:endParaRPr lang="en-GB" dirty="0"/>
          </a:p>
        </p:txBody>
      </p:sp>
      <p:sp>
        <p:nvSpPr>
          <p:cNvPr id="48" name="Textplatzhalter 13">
            <a:extLst>
              <a:ext uri="{FF2B5EF4-FFF2-40B4-BE49-F238E27FC236}">
                <a16:creationId xmlns:a16="http://schemas.microsoft.com/office/drawing/2014/main" id="{4A809A42-FB12-48C8-99C6-B1EE73B4C49D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5"/>
            </p:custDataLst>
          </p:nvPr>
        </p:nvSpPr>
        <p:spPr bwMode="ltGray">
          <a:xfrm>
            <a:off x="8336249" y="2193510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F93A0446-DCD6-4E25-B458-A3B11484DE02}"/>
              </a:ext>
            </a:extLst>
          </p:cNvPr>
          <p:cNvSpPr>
            <a:spLocks noGrp="1"/>
          </p:cNvSpPr>
          <p:nvPr>
            <p:ph type="body" sz="quarter" idx="61" hasCustomPrompt="1"/>
            <p:custDataLst>
              <p:tags r:id="rId16"/>
            </p:custDataLst>
          </p:nvPr>
        </p:nvSpPr>
        <p:spPr>
          <a:xfrm>
            <a:off x="8336196" y="2791619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50" name="Textplatzhalter 24">
            <a:extLst>
              <a:ext uri="{FF2B5EF4-FFF2-40B4-BE49-F238E27FC236}">
                <a16:creationId xmlns:a16="http://schemas.microsoft.com/office/drawing/2014/main" id="{99C131C6-A34F-45BD-8AF4-18C4A396B909}"/>
              </a:ext>
            </a:extLst>
          </p:cNvPr>
          <p:cNvSpPr>
            <a:spLocks noGrp="1"/>
          </p:cNvSpPr>
          <p:nvPr>
            <p:ph type="body" sz="quarter" idx="62" hasCustomPrompt="1"/>
            <p:custDataLst>
              <p:tags r:id="rId17"/>
            </p:custDataLst>
          </p:nvPr>
        </p:nvSpPr>
        <p:spPr>
          <a:xfrm>
            <a:off x="9092983" y="2791619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51" name="Textplatzhalter 20">
            <a:extLst>
              <a:ext uri="{FF2B5EF4-FFF2-40B4-BE49-F238E27FC236}">
                <a16:creationId xmlns:a16="http://schemas.microsoft.com/office/drawing/2014/main" id="{63EB52FA-6704-41E0-9C96-CDB53104741B}"/>
              </a:ext>
            </a:extLst>
          </p:cNvPr>
          <p:cNvSpPr>
            <a:spLocks noGrp="1"/>
          </p:cNvSpPr>
          <p:nvPr>
            <p:ph type="body" sz="quarter" idx="63" hasCustomPrompt="1"/>
            <p:custDataLst>
              <p:tags r:id="rId18"/>
            </p:custDataLst>
          </p:nvPr>
        </p:nvSpPr>
        <p:spPr bwMode="ltGray">
          <a:xfrm>
            <a:off x="8002849" y="1530918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1D2774BC-ACB3-4F28-BE42-FB9F036C0C75}"/>
              </a:ext>
            </a:extLst>
          </p:cNvPr>
          <p:cNvSpPr>
            <a:spLocks noGrp="1"/>
          </p:cNvSpPr>
          <p:nvPr>
            <p:ph type="body" sz="quarter" idx="64" hasCustomPrompt="1"/>
            <p:custDataLst>
              <p:tags r:id="rId19"/>
            </p:custDataLst>
          </p:nvPr>
        </p:nvSpPr>
        <p:spPr bwMode="ltGray">
          <a:xfrm>
            <a:off x="8336850" y="3893514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6</a:t>
            </a:r>
            <a:endParaRPr lang="en-GB" dirty="0"/>
          </a:p>
        </p:txBody>
      </p:sp>
      <p:sp>
        <p:nvSpPr>
          <p:cNvPr id="53" name="Textplatzhalter 13">
            <a:extLst>
              <a:ext uri="{FF2B5EF4-FFF2-40B4-BE49-F238E27FC236}">
                <a16:creationId xmlns:a16="http://schemas.microsoft.com/office/drawing/2014/main" id="{9F4D7A4B-CE25-4E76-A1D6-A61C338D0C80}"/>
              </a:ext>
            </a:extLst>
          </p:cNvPr>
          <p:cNvSpPr>
            <a:spLocks noGrp="1"/>
          </p:cNvSpPr>
          <p:nvPr>
            <p:ph type="body" sz="quarter" idx="65" hasCustomPrompt="1"/>
            <p:custDataLst>
              <p:tags r:id="rId20"/>
            </p:custDataLst>
          </p:nvPr>
        </p:nvSpPr>
        <p:spPr bwMode="ltGray">
          <a:xfrm>
            <a:off x="8336249" y="4737014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54" name="Textplatzhalter 22">
            <a:extLst>
              <a:ext uri="{FF2B5EF4-FFF2-40B4-BE49-F238E27FC236}">
                <a16:creationId xmlns:a16="http://schemas.microsoft.com/office/drawing/2014/main" id="{3C2CFAAE-3B6E-487A-87D2-7C9E324ACD67}"/>
              </a:ext>
            </a:extLst>
          </p:cNvPr>
          <p:cNvSpPr>
            <a:spLocks noGrp="1"/>
          </p:cNvSpPr>
          <p:nvPr>
            <p:ph type="body" sz="quarter" idx="66" hasCustomPrompt="1"/>
            <p:custDataLst>
              <p:tags r:id="rId21"/>
            </p:custDataLst>
          </p:nvPr>
        </p:nvSpPr>
        <p:spPr>
          <a:xfrm>
            <a:off x="8336196" y="5335123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55" name="Textplatzhalter 24">
            <a:extLst>
              <a:ext uri="{FF2B5EF4-FFF2-40B4-BE49-F238E27FC236}">
                <a16:creationId xmlns:a16="http://schemas.microsoft.com/office/drawing/2014/main" id="{4E9C0D69-F569-4D50-98F1-2E78B7CD3C11}"/>
              </a:ext>
            </a:extLst>
          </p:cNvPr>
          <p:cNvSpPr>
            <a:spLocks noGrp="1"/>
          </p:cNvSpPr>
          <p:nvPr>
            <p:ph type="body" sz="quarter" idx="67" hasCustomPrompt="1"/>
            <p:custDataLst>
              <p:tags r:id="rId22"/>
            </p:custDataLst>
          </p:nvPr>
        </p:nvSpPr>
        <p:spPr>
          <a:xfrm>
            <a:off x="9092983" y="5335123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56" name="Textplatzhalter 20">
            <a:extLst>
              <a:ext uri="{FF2B5EF4-FFF2-40B4-BE49-F238E27FC236}">
                <a16:creationId xmlns:a16="http://schemas.microsoft.com/office/drawing/2014/main" id="{BBED818F-6A15-4E1E-A2F5-A77CCE1F1F7C}"/>
              </a:ext>
            </a:extLst>
          </p:cNvPr>
          <p:cNvSpPr>
            <a:spLocks noGrp="1"/>
          </p:cNvSpPr>
          <p:nvPr>
            <p:ph type="body" sz="quarter" idx="68" hasCustomPrompt="1"/>
            <p:custDataLst>
              <p:tags r:id="rId23"/>
            </p:custDataLst>
          </p:nvPr>
        </p:nvSpPr>
        <p:spPr bwMode="ltGray">
          <a:xfrm>
            <a:off x="8002849" y="4074422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57" name="Textplatzhalter 6">
            <a:extLst>
              <a:ext uri="{FF2B5EF4-FFF2-40B4-BE49-F238E27FC236}">
                <a16:creationId xmlns:a16="http://schemas.microsoft.com/office/drawing/2014/main" id="{15CE245D-D716-42A7-B314-B51BBD60DA07}"/>
              </a:ext>
            </a:extLst>
          </p:cNvPr>
          <p:cNvSpPr>
            <a:spLocks noGrp="1"/>
          </p:cNvSpPr>
          <p:nvPr>
            <p:ph type="body" sz="quarter" idx="69" hasCustomPrompt="1"/>
            <p:custDataLst>
              <p:tags r:id="rId24"/>
            </p:custDataLst>
          </p:nvPr>
        </p:nvSpPr>
        <p:spPr bwMode="ltGray">
          <a:xfrm>
            <a:off x="4583739" y="1350010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2</a:t>
            </a:r>
            <a:endParaRPr lang="en-GB" dirty="0"/>
          </a:p>
        </p:txBody>
      </p:sp>
      <p:sp>
        <p:nvSpPr>
          <p:cNvPr id="58" name="Textplatzhalter 13">
            <a:extLst>
              <a:ext uri="{FF2B5EF4-FFF2-40B4-BE49-F238E27FC236}">
                <a16:creationId xmlns:a16="http://schemas.microsoft.com/office/drawing/2014/main" id="{27B12EED-4AE1-41DE-8E0B-269F50DA520E}"/>
              </a:ext>
            </a:extLst>
          </p:cNvPr>
          <p:cNvSpPr>
            <a:spLocks noGrp="1"/>
          </p:cNvSpPr>
          <p:nvPr>
            <p:ph type="body" sz="quarter" idx="70" hasCustomPrompt="1"/>
            <p:custDataLst>
              <p:tags r:id="rId25"/>
            </p:custDataLst>
          </p:nvPr>
        </p:nvSpPr>
        <p:spPr bwMode="ltGray">
          <a:xfrm>
            <a:off x="4583138" y="2193510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D1AA1C41-BFAB-4AC3-B172-3960E0C81428}"/>
              </a:ext>
            </a:extLst>
          </p:cNvPr>
          <p:cNvSpPr>
            <a:spLocks noGrp="1"/>
          </p:cNvSpPr>
          <p:nvPr>
            <p:ph type="body" sz="quarter" idx="71" hasCustomPrompt="1"/>
            <p:custDataLst>
              <p:tags r:id="rId26"/>
            </p:custDataLst>
          </p:nvPr>
        </p:nvSpPr>
        <p:spPr>
          <a:xfrm>
            <a:off x="4583085" y="2791619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60" name="Textplatzhalter 24">
            <a:extLst>
              <a:ext uri="{FF2B5EF4-FFF2-40B4-BE49-F238E27FC236}">
                <a16:creationId xmlns:a16="http://schemas.microsoft.com/office/drawing/2014/main" id="{291002A9-E47C-46AC-8130-900355F9C494}"/>
              </a:ext>
            </a:extLst>
          </p:cNvPr>
          <p:cNvSpPr>
            <a:spLocks noGrp="1"/>
          </p:cNvSpPr>
          <p:nvPr>
            <p:ph type="body" sz="quarter" idx="72" hasCustomPrompt="1"/>
            <p:custDataLst>
              <p:tags r:id="rId27"/>
            </p:custDataLst>
          </p:nvPr>
        </p:nvSpPr>
        <p:spPr>
          <a:xfrm>
            <a:off x="5339872" y="2791619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61" name="Textplatzhalter 20">
            <a:extLst>
              <a:ext uri="{FF2B5EF4-FFF2-40B4-BE49-F238E27FC236}">
                <a16:creationId xmlns:a16="http://schemas.microsoft.com/office/drawing/2014/main" id="{7DD05CE5-E74B-49FC-84BB-F6F88B544A4A}"/>
              </a:ext>
            </a:extLst>
          </p:cNvPr>
          <p:cNvSpPr>
            <a:spLocks noGrp="1"/>
          </p:cNvSpPr>
          <p:nvPr>
            <p:ph type="body" sz="quarter" idx="73" hasCustomPrompt="1"/>
            <p:custDataLst>
              <p:tags r:id="rId28"/>
            </p:custDataLst>
          </p:nvPr>
        </p:nvSpPr>
        <p:spPr bwMode="ltGray">
          <a:xfrm>
            <a:off x="4249738" y="1530918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62" name="Textplatzhalter 6">
            <a:extLst>
              <a:ext uri="{FF2B5EF4-FFF2-40B4-BE49-F238E27FC236}">
                <a16:creationId xmlns:a16="http://schemas.microsoft.com/office/drawing/2014/main" id="{DCBD569B-421C-4D80-983C-0793189542EA}"/>
              </a:ext>
            </a:extLst>
          </p:cNvPr>
          <p:cNvSpPr>
            <a:spLocks noGrp="1"/>
          </p:cNvSpPr>
          <p:nvPr>
            <p:ph type="body" sz="quarter" idx="74" hasCustomPrompt="1"/>
            <p:custDataLst>
              <p:tags r:id="rId29"/>
            </p:custDataLst>
          </p:nvPr>
        </p:nvSpPr>
        <p:spPr bwMode="ltGray">
          <a:xfrm>
            <a:off x="4583739" y="3893514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5</a:t>
            </a:r>
            <a:endParaRPr lang="en-GB" dirty="0"/>
          </a:p>
        </p:txBody>
      </p:sp>
      <p:sp>
        <p:nvSpPr>
          <p:cNvPr id="63" name="Textplatzhalter 13">
            <a:extLst>
              <a:ext uri="{FF2B5EF4-FFF2-40B4-BE49-F238E27FC236}">
                <a16:creationId xmlns:a16="http://schemas.microsoft.com/office/drawing/2014/main" id="{0F0FFB26-9A61-4658-8289-7578336C3A66}"/>
              </a:ext>
            </a:extLst>
          </p:cNvPr>
          <p:cNvSpPr>
            <a:spLocks noGrp="1"/>
          </p:cNvSpPr>
          <p:nvPr>
            <p:ph type="body" sz="quarter" idx="75" hasCustomPrompt="1"/>
            <p:custDataLst>
              <p:tags r:id="rId30"/>
            </p:custDataLst>
          </p:nvPr>
        </p:nvSpPr>
        <p:spPr bwMode="ltGray">
          <a:xfrm>
            <a:off x="4583138" y="4737014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64" name="Textplatzhalter 22">
            <a:extLst>
              <a:ext uri="{FF2B5EF4-FFF2-40B4-BE49-F238E27FC236}">
                <a16:creationId xmlns:a16="http://schemas.microsoft.com/office/drawing/2014/main" id="{99C9CFD3-F8D5-47E0-A348-B1071A8467A1}"/>
              </a:ext>
            </a:extLst>
          </p:cNvPr>
          <p:cNvSpPr>
            <a:spLocks noGrp="1"/>
          </p:cNvSpPr>
          <p:nvPr>
            <p:ph type="body" sz="quarter" idx="76" hasCustomPrompt="1"/>
            <p:custDataLst>
              <p:tags r:id="rId31"/>
            </p:custDataLst>
          </p:nvPr>
        </p:nvSpPr>
        <p:spPr>
          <a:xfrm>
            <a:off x="4583085" y="5335123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65" name="Textplatzhalter 24">
            <a:extLst>
              <a:ext uri="{FF2B5EF4-FFF2-40B4-BE49-F238E27FC236}">
                <a16:creationId xmlns:a16="http://schemas.microsoft.com/office/drawing/2014/main" id="{FC50CC88-45D1-41B7-9668-911094EB9B72}"/>
              </a:ext>
            </a:extLst>
          </p:cNvPr>
          <p:cNvSpPr>
            <a:spLocks noGrp="1"/>
          </p:cNvSpPr>
          <p:nvPr>
            <p:ph type="body" sz="quarter" idx="77" hasCustomPrompt="1"/>
            <p:custDataLst>
              <p:tags r:id="rId32"/>
            </p:custDataLst>
          </p:nvPr>
        </p:nvSpPr>
        <p:spPr>
          <a:xfrm>
            <a:off x="5339872" y="5335123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66" name="Textplatzhalter 20">
            <a:extLst>
              <a:ext uri="{FF2B5EF4-FFF2-40B4-BE49-F238E27FC236}">
                <a16:creationId xmlns:a16="http://schemas.microsoft.com/office/drawing/2014/main" id="{5549993C-E923-454D-BC96-E342BCC63F3D}"/>
              </a:ext>
            </a:extLst>
          </p:cNvPr>
          <p:cNvSpPr>
            <a:spLocks noGrp="1"/>
          </p:cNvSpPr>
          <p:nvPr>
            <p:ph type="body" sz="quarter" idx="78" hasCustomPrompt="1"/>
            <p:custDataLst>
              <p:tags r:id="rId33"/>
            </p:custDataLst>
          </p:nvPr>
        </p:nvSpPr>
        <p:spPr bwMode="ltGray">
          <a:xfrm>
            <a:off x="4249738" y="4074422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3F5E22D-BFAF-4092-BE21-E1AA160578F2}"/>
              </a:ext>
            </a:extLst>
          </p:cNvPr>
          <p:cNvSpPr>
            <a:spLocks noGrp="1"/>
          </p:cNvSpPr>
          <p:nvPr>
            <p:ph type="title"/>
            <p:custDataLst>
              <p:tags r:id="rId34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2673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ilenstein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63FEDB-56EC-714A-A04F-5AA705F5250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4557445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873F1436-3B91-8540-A651-3A6262E2CEEF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569001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5E3DF55-D0B0-954F-A4AD-A044881E626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8613671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AC53F2E-8872-794B-8AD3-C9F6DC4FEB9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658925" y="1710000"/>
            <a:ext cx="811586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949446A-16BF-D742-9F89-F422A7AEC07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474913" y="1683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CD106B8C-DB3E-3A40-848C-31DBD53D037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519154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9B90B10-453E-E24C-90A1-A7631C4325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3504248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EC6A5A6-0CF1-564B-B914-54B84689FE2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5576521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72B28BA-DEB0-0843-B276-A92DB9C421C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9630110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B9B5F4CC-F702-1F46-A303-7D23388B6168}"/>
              </a:ext>
            </a:extLst>
          </p:cNvPr>
          <p:cNvSpPr>
            <a:spLocks noGrp="1"/>
          </p:cNvSpPr>
          <p:nvPr>
            <p:ph sz="quarter" idx="20" hasCustomPrompt="1"/>
            <p:custDataLst>
              <p:tags r:id="rId10"/>
            </p:custDataLst>
          </p:nvPr>
        </p:nvSpPr>
        <p:spPr>
          <a:xfrm>
            <a:off x="4557445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19" name="Inhaltsplatzhalter 17">
            <a:extLst>
              <a:ext uri="{FF2B5EF4-FFF2-40B4-BE49-F238E27FC236}">
                <a16:creationId xmlns:a16="http://schemas.microsoft.com/office/drawing/2014/main" id="{95BB592A-1CB2-F642-9F82-492E8EF467CF}"/>
              </a:ext>
            </a:extLst>
          </p:cNvPr>
          <p:cNvSpPr>
            <a:spLocks noGrp="1"/>
          </p:cNvSpPr>
          <p:nvPr>
            <p:ph sz="quarter" idx="21" hasCustomPrompt="1"/>
            <p:custDataLst>
              <p:tags r:id="rId11"/>
            </p:custDataLst>
          </p:nvPr>
        </p:nvSpPr>
        <p:spPr>
          <a:xfrm>
            <a:off x="6569025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0" name="Inhaltsplatzhalter 17">
            <a:extLst>
              <a:ext uri="{FF2B5EF4-FFF2-40B4-BE49-F238E27FC236}">
                <a16:creationId xmlns:a16="http://schemas.microsoft.com/office/drawing/2014/main" id="{DD3E379B-C876-9D4A-BBC4-8EFA1A1EDFC2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2"/>
            </p:custDataLst>
          </p:nvPr>
        </p:nvSpPr>
        <p:spPr>
          <a:xfrm>
            <a:off x="8613671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1" name="Inhaltsplatzhalter 17">
            <a:extLst>
              <a:ext uri="{FF2B5EF4-FFF2-40B4-BE49-F238E27FC236}">
                <a16:creationId xmlns:a16="http://schemas.microsoft.com/office/drawing/2014/main" id="{801A5A63-5D79-C642-9860-5F0153C225A0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13"/>
            </p:custDataLst>
          </p:nvPr>
        </p:nvSpPr>
        <p:spPr>
          <a:xfrm>
            <a:off x="10658317" y="1450801"/>
            <a:ext cx="811586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2" name="Inhaltsplatzhalter 17">
            <a:extLst>
              <a:ext uri="{FF2B5EF4-FFF2-40B4-BE49-F238E27FC236}">
                <a16:creationId xmlns:a16="http://schemas.microsoft.com/office/drawing/2014/main" id="{8F9DE729-C790-D743-832E-284D55003A53}"/>
              </a:ext>
            </a:extLst>
          </p:cNvPr>
          <p:cNvSpPr>
            <a:spLocks noGrp="1"/>
          </p:cNvSpPr>
          <p:nvPr>
            <p:ph sz="quarter" idx="24" hasCustomPrompt="1"/>
            <p:custDataLst>
              <p:tags r:id="rId14"/>
            </p:custDataLst>
          </p:nvPr>
        </p:nvSpPr>
        <p:spPr>
          <a:xfrm>
            <a:off x="9630386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3" name="Inhaltsplatzhalter 17">
            <a:extLst>
              <a:ext uri="{FF2B5EF4-FFF2-40B4-BE49-F238E27FC236}">
                <a16:creationId xmlns:a16="http://schemas.microsoft.com/office/drawing/2014/main" id="{2A7B4E93-E0E9-E347-A3CA-05ADFE465C23}"/>
              </a:ext>
            </a:extLst>
          </p:cNvPr>
          <p:cNvSpPr>
            <a:spLocks noGrp="1"/>
          </p:cNvSpPr>
          <p:nvPr>
            <p:ph sz="quarter" idx="25" hasCustomPrompt="1"/>
            <p:custDataLst>
              <p:tags r:id="rId15"/>
            </p:custDataLst>
          </p:nvPr>
        </p:nvSpPr>
        <p:spPr>
          <a:xfrm>
            <a:off x="5576461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4" name="Inhaltsplatzhalter 17">
            <a:extLst>
              <a:ext uri="{FF2B5EF4-FFF2-40B4-BE49-F238E27FC236}">
                <a16:creationId xmlns:a16="http://schemas.microsoft.com/office/drawing/2014/main" id="{AE0CB9F8-F003-B04B-A170-ECB1AE96E6A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16"/>
            </p:custDataLst>
          </p:nvPr>
        </p:nvSpPr>
        <p:spPr>
          <a:xfrm>
            <a:off x="3503413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5" name="Inhaltsplatzhalter 17">
            <a:extLst>
              <a:ext uri="{FF2B5EF4-FFF2-40B4-BE49-F238E27FC236}">
                <a16:creationId xmlns:a16="http://schemas.microsoft.com/office/drawing/2014/main" id="{2691CE29-EBC3-3E4F-98C8-6637AD042E4B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17"/>
            </p:custDataLst>
          </p:nvPr>
        </p:nvSpPr>
        <p:spPr>
          <a:xfrm>
            <a:off x="1519070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6" name="Inhaltsplatzhalter 17">
            <a:extLst>
              <a:ext uri="{FF2B5EF4-FFF2-40B4-BE49-F238E27FC236}">
                <a16:creationId xmlns:a16="http://schemas.microsoft.com/office/drawing/2014/main" id="{4DAE49F9-5745-4045-A8C2-3F09E0CC4ACB}"/>
              </a:ext>
            </a:extLst>
          </p:cNvPr>
          <p:cNvSpPr>
            <a:spLocks noGrp="1"/>
          </p:cNvSpPr>
          <p:nvPr>
            <p:ph sz="quarter" idx="28" hasCustomPrompt="1"/>
            <p:custDataLst>
              <p:tags r:id="rId18"/>
            </p:custDataLst>
          </p:nvPr>
        </p:nvSpPr>
        <p:spPr>
          <a:xfrm>
            <a:off x="2475686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3B6F43D-1284-4F32-A229-F302C36676AD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4683E994-A516-4BF9-B4D1-5E313B28520B}"/>
              </a:ext>
            </a:extLst>
          </p:cNvPr>
          <p:cNvSpPr>
            <a:spLocks noGrp="1"/>
          </p:cNvSpPr>
          <p:nvPr>
            <p:ph type="ftr" sz="quarter" idx="29"/>
            <p:custDataLst>
              <p:tags r:id="rId20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32" name="Foliennummernplatzhalter 31">
            <a:extLst>
              <a:ext uri="{FF2B5EF4-FFF2-40B4-BE49-F238E27FC236}">
                <a16:creationId xmlns:a16="http://schemas.microsoft.com/office/drawing/2014/main" id="{8F88376B-1D40-4404-8ABD-7C73E4856C22}"/>
              </a:ext>
            </a:extLst>
          </p:cNvPr>
          <p:cNvSpPr>
            <a:spLocks noGrp="1"/>
          </p:cNvSpPr>
          <p:nvPr>
            <p:ph type="sldNum" sz="quarter" idx="30"/>
            <p:custDataLst>
              <p:tags r:id="rId21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F55A93C-FE4C-4B2B-B2D2-837F9F9C4E0F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 bwMode="ltGray">
          <a:xfrm flipV="1">
            <a:off x="1009650" y="3453318"/>
            <a:ext cx="10163175" cy="318974"/>
          </a:xfrm>
          <a:prstGeom prst="rect">
            <a:avLst/>
          </a:prstGeom>
        </p:spPr>
      </p:pic>
      <p:sp>
        <p:nvSpPr>
          <p:cNvPr id="77" name="Textplatzhalter 7">
            <a:extLst>
              <a:ext uri="{FF2B5EF4-FFF2-40B4-BE49-F238E27FC236}">
                <a16:creationId xmlns:a16="http://schemas.microsoft.com/office/drawing/2014/main" id="{7EFB545D-9B2A-4221-9076-D36451F1FFB2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3"/>
            </p:custDataLst>
          </p:nvPr>
        </p:nvSpPr>
        <p:spPr>
          <a:xfrm>
            <a:off x="7594481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78" name="Inhaltsplatzhalter 17">
            <a:extLst>
              <a:ext uri="{FF2B5EF4-FFF2-40B4-BE49-F238E27FC236}">
                <a16:creationId xmlns:a16="http://schemas.microsoft.com/office/drawing/2014/main" id="{68F6896F-4B64-4535-9C8C-4C8B3FB819F2}"/>
              </a:ext>
            </a:extLst>
          </p:cNvPr>
          <p:cNvSpPr>
            <a:spLocks noGrp="1"/>
          </p:cNvSpPr>
          <p:nvPr>
            <p:ph sz="quarter" idx="34" hasCustomPrompt="1"/>
            <p:custDataLst>
              <p:tags r:id="rId24"/>
            </p:custDataLst>
          </p:nvPr>
        </p:nvSpPr>
        <p:spPr>
          <a:xfrm>
            <a:off x="7594757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129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eichsseite Basis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7055411-5FB9-C44C-B243-7543098104ED}"/>
              </a:ext>
            </a:extLst>
          </p:cNvPr>
          <p:cNvSpPr/>
          <p:nvPr>
            <p:custDataLst>
              <p:tags r:id="rId1"/>
            </p:custDataLst>
          </p:nvPr>
        </p:nvSpPr>
        <p:spPr bwMode="ltGray">
          <a:xfrm>
            <a:off x="1" y="1998922"/>
            <a:ext cx="4391532" cy="4093535"/>
          </a:xfrm>
          <a:prstGeom prst="rect">
            <a:avLst/>
          </a:prstGeom>
          <a:solidFill>
            <a:srgbClr val="1428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7DE513C-502C-493A-9A44-F1A60712CE38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"/>
            </p:custDataLst>
          </p:nvPr>
        </p:nvSpPr>
        <p:spPr bwMode="white">
          <a:xfrm>
            <a:off x="838200" y="2224088"/>
            <a:ext cx="3127375" cy="366236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Kurzbeschreibung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19D161A-4825-4BCB-9FF3-2658BDCE833A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>
          <a:xfrm>
            <a:off x="4804834" y="2728384"/>
            <a:ext cx="3139017" cy="3237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latin typeface="+mn-lt"/>
              </a:defRPr>
            </a:lvl1pPr>
            <a:lvl2pPr>
              <a:defRPr lang="de-DE" dirty="0">
                <a:latin typeface="+mn-lt"/>
              </a:defRPr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0851A89-232C-B147-86BF-1BA131425429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4"/>
            </p:custDataLst>
          </p:nvPr>
        </p:nvSpPr>
        <p:spPr>
          <a:xfrm>
            <a:off x="4804237" y="1998921"/>
            <a:ext cx="6526281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n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Univers" panose="020B0503020202020204" pitchFamily="34" charset="0"/>
              <a:buNone/>
              <a:tabLst/>
              <a:defRPr/>
            </a:pPr>
            <a:r>
              <a:rPr lang="en-GB"/>
              <a:t>Titel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03E1220-E3C2-4FFB-BE54-9BD68C164BB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478E438B-CD8E-406E-AA7A-DDFFFF45A07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8191501" y="2728384"/>
            <a:ext cx="3139017" cy="3237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>
                <a:latin typeface="+mn-lt"/>
              </a:defRPr>
            </a:lvl1pPr>
            <a:lvl2pPr>
              <a:defRPr lang="de-DE">
                <a:latin typeface="+mn-lt"/>
              </a:defRPr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21B2EC0-2D4B-4041-B0F3-1CB940A669F1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4210B1-EFCE-4ED8-92AF-FA0CE5691753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8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Bildplatzhalter 31">
            <a:extLst>
              <a:ext uri="{FF2B5EF4-FFF2-40B4-BE49-F238E27FC236}">
                <a16:creationId xmlns:a16="http://schemas.microsoft.com/office/drawing/2014/main" id="{3573F16F-693A-4CCB-A771-F85CB47EB3AC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9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GB"/>
              <a:t>Bereichs-Kennzeichnu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66427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eichsseite Basisinfo_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BEC107-CF1B-DD44-B8C1-19F1E1FBAC0C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16809C-E8E0-A34A-AF70-79795DB5C66B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CE23769-D04D-DC42-88FA-159208F49A91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3"/>
            </p:custDataLst>
          </p:nvPr>
        </p:nvSpPr>
        <p:spPr bwMode="gray">
          <a:xfrm>
            <a:off x="0" y="1999800"/>
            <a:ext cx="4392285" cy="4093200"/>
          </a:xfrm>
          <a:prstGeom prst="rect">
            <a:avLst/>
          </a:prstGeom>
        </p:spPr>
        <p:txBody>
          <a:bodyPr/>
          <a:lstStyle>
            <a:lvl1pPr marL="48600" indent="0">
              <a:buNone/>
              <a:defRPr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DBB39C8-A31A-4B3A-A812-A7530A3603E6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4"/>
            </p:custDataLst>
          </p:nvPr>
        </p:nvSpPr>
        <p:spPr>
          <a:xfrm>
            <a:off x="4804237" y="1998921"/>
            <a:ext cx="6526281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n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Univers" panose="020B0503020202020204" pitchFamily="34" charset="0"/>
              <a:buNone/>
              <a:tabLst/>
              <a:defRPr/>
            </a:pPr>
            <a:r>
              <a:rPr lang="en-GB"/>
              <a:t>Titel</a:t>
            </a:r>
            <a:endParaRPr lang="en-GB" dirty="0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0B417895-A2B7-4B45-9A7A-971C6AD7DC68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5"/>
            </p:custDataLst>
          </p:nvPr>
        </p:nvSpPr>
        <p:spPr>
          <a:xfrm>
            <a:off x="4804834" y="2728384"/>
            <a:ext cx="3139017" cy="3237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latin typeface="+mn-lt"/>
              </a:defRPr>
            </a:lvl1pPr>
            <a:lvl2pPr>
              <a:defRPr lang="de-DE" dirty="0">
                <a:latin typeface="+mn-lt"/>
              </a:defRPr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E4E76843-F69F-4409-9AE6-AC7B96245021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8191501" y="2728384"/>
            <a:ext cx="3139017" cy="3237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>
                <a:latin typeface="+mn-lt"/>
              </a:defRPr>
            </a:lvl1pPr>
            <a:lvl2pPr>
              <a:defRPr lang="de-DE">
                <a:latin typeface="+mn-lt"/>
              </a:defRPr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4774BFD-D75A-4042-9AB2-1469AD3AF66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9" name="Bildplatzhalter 31">
            <a:extLst>
              <a:ext uri="{FF2B5EF4-FFF2-40B4-BE49-F238E27FC236}">
                <a16:creationId xmlns:a16="http://schemas.microsoft.com/office/drawing/2014/main" id="{D31A303E-C5CA-49C6-890C-68E85F1926F7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8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GB"/>
              <a:t>Bereichs-Kennzeichnu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66170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B170C05-BAC1-4F50-9CD0-A4E59C2521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43894" y="499621"/>
            <a:ext cx="10501969" cy="449010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3351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470F9BE-5B82-426E-9CA1-379179F54C3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4670357" y="-1"/>
            <a:ext cx="7521644" cy="6857188"/>
          </a:xfrm>
          <a:prstGeom prst="rect">
            <a:avLst/>
          </a:prstGeom>
        </p:spPr>
      </p:pic>
      <p:grpSp>
        <p:nvGrpSpPr>
          <p:cNvPr id="7" name="Grafik 8">
            <a:extLst>
              <a:ext uri="{FF2B5EF4-FFF2-40B4-BE49-F238E27FC236}">
                <a16:creationId xmlns:a16="http://schemas.microsoft.com/office/drawing/2014/main" id="{398FAD0D-9B98-4300-B1E3-9BEB374D2CE7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3449103" y="2656959"/>
            <a:ext cx="5299735" cy="1544085"/>
            <a:chOff x="4005262" y="2405061"/>
            <a:chExt cx="1134427" cy="330517"/>
          </a:xfrm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4A347AAE-6FCD-466A-B59C-8A9F3DB13DD2}"/>
                </a:ext>
              </a:extLst>
            </p:cNvPr>
            <p:cNvSpPr/>
            <p:nvPr/>
          </p:nvSpPr>
          <p:spPr bwMode="gray">
            <a:xfrm>
              <a:off x="4092891" y="2406967"/>
              <a:ext cx="153352" cy="140017"/>
            </a:xfrm>
            <a:custGeom>
              <a:avLst/>
              <a:gdLst>
                <a:gd name="connsiteX0" fmla="*/ 58103 w 153352"/>
                <a:gd name="connsiteY0" fmla="*/ 54293 h 140017"/>
                <a:gd name="connsiteX1" fmla="*/ 46673 w 153352"/>
                <a:gd name="connsiteY1" fmla="*/ 42863 h 140017"/>
                <a:gd name="connsiteX2" fmla="*/ 58103 w 153352"/>
                <a:gd name="connsiteY2" fmla="*/ 31433 h 140017"/>
                <a:gd name="connsiteX3" fmla="*/ 138113 w 153352"/>
                <a:gd name="connsiteY3" fmla="*/ 31433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2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2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2 w 153352"/>
                <a:gd name="connsiteY14" fmla="*/ 140018 h 140017"/>
                <a:gd name="connsiteX15" fmla="*/ 139065 w 153352"/>
                <a:gd name="connsiteY15" fmla="*/ 97155 h 140017"/>
                <a:gd name="connsiteX16" fmla="*/ 96202 w 153352"/>
                <a:gd name="connsiteY16" fmla="*/ 54292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3"/>
                  </a:moveTo>
                  <a:cubicBezTo>
                    <a:pt x="51790" y="54293"/>
                    <a:pt x="46673" y="49175"/>
                    <a:pt x="46673" y="42863"/>
                  </a:cubicBezTo>
                  <a:cubicBezTo>
                    <a:pt x="46673" y="36550"/>
                    <a:pt x="51790" y="31433"/>
                    <a:pt x="58103" y="31433"/>
                  </a:cubicBezTo>
                  <a:lnTo>
                    <a:pt x="138113" y="31433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2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2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2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2"/>
                    <a:pt x="96202" y="5429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A544D81D-2B6F-45A7-9003-1C32117F92CF}"/>
                </a:ext>
              </a:extLst>
            </p:cNvPr>
            <p:cNvSpPr/>
            <p:nvPr/>
          </p:nvSpPr>
          <p:spPr bwMode="gray">
            <a:xfrm>
              <a:off x="4704397" y="2407919"/>
              <a:ext cx="143827" cy="139064"/>
            </a:xfrm>
            <a:custGeom>
              <a:avLst/>
              <a:gdLst>
                <a:gd name="connsiteX0" fmla="*/ 50482 w 143827"/>
                <a:gd name="connsiteY0" fmla="*/ 88583 h 139064"/>
                <a:gd name="connsiteX1" fmla="*/ 50482 w 143827"/>
                <a:gd name="connsiteY1" fmla="*/ 88583 h 139064"/>
                <a:gd name="connsiteX2" fmla="*/ 71438 w 143827"/>
                <a:gd name="connsiteY2" fmla="*/ 32385 h 139064"/>
                <a:gd name="connsiteX3" fmla="*/ 72390 w 143827"/>
                <a:gd name="connsiteY3" fmla="*/ 32385 h 139064"/>
                <a:gd name="connsiteX4" fmla="*/ 93345 w 143827"/>
                <a:gd name="connsiteY4" fmla="*/ 88583 h 139064"/>
                <a:gd name="connsiteX5" fmla="*/ 50482 w 143827"/>
                <a:gd name="connsiteY5" fmla="*/ 88583 h 139064"/>
                <a:gd name="connsiteX6" fmla="*/ 49530 w 143827"/>
                <a:gd name="connsiteY6" fmla="*/ 0 h 139064"/>
                <a:gd name="connsiteX7" fmla="*/ 0 w 143827"/>
                <a:gd name="connsiteY7" fmla="*/ 139065 h 139064"/>
                <a:gd name="connsiteX8" fmla="*/ 33338 w 143827"/>
                <a:gd name="connsiteY8" fmla="*/ 139065 h 139064"/>
                <a:gd name="connsiteX9" fmla="*/ 40957 w 143827"/>
                <a:gd name="connsiteY9" fmla="*/ 118110 h 139064"/>
                <a:gd name="connsiteX10" fmla="*/ 102870 w 143827"/>
                <a:gd name="connsiteY10" fmla="*/ 118110 h 139064"/>
                <a:gd name="connsiteX11" fmla="*/ 110490 w 143827"/>
                <a:gd name="connsiteY11" fmla="*/ 139065 h 139064"/>
                <a:gd name="connsiteX12" fmla="*/ 143827 w 143827"/>
                <a:gd name="connsiteY12" fmla="*/ 139065 h 139064"/>
                <a:gd name="connsiteX13" fmla="*/ 94298 w 143827"/>
                <a:gd name="connsiteY13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27" h="139064">
                  <a:moveTo>
                    <a:pt x="50482" y="88583"/>
                  </a:moveTo>
                  <a:lnTo>
                    <a:pt x="50482" y="88583"/>
                  </a:lnTo>
                  <a:lnTo>
                    <a:pt x="71438" y="32385"/>
                  </a:lnTo>
                  <a:lnTo>
                    <a:pt x="72390" y="32385"/>
                  </a:lnTo>
                  <a:lnTo>
                    <a:pt x="93345" y="88583"/>
                  </a:lnTo>
                  <a:lnTo>
                    <a:pt x="50482" y="88583"/>
                  </a:lnTo>
                  <a:close/>
                  <a:moveTo>
                    <a:pt x="49530" y="0"/>
                  </a:moveTo>
                  <a:lnTo>
                    <a:pt x="0" y="139065"/>
                  </a:lnTo>
                  <a:lnTo>
                    <a:pt x="33338" y="139065"/>
                  </a:lnTo>
                  <a:lnTo>
                    <a:pt x="40957" y="118110"/>
                  </a:lnTo>
                  <a:lnTo>
                    <a:pt x="102870" y="118110"/>
                  </a:lnTo>
                  <a:lnTo>
                    <a:pt x="110490" y="139065"/>
                  </a:lnTo>
                  <a:lnTo>
                    <a:pt x="143827" y="139065"/>
                  </a:lnTo>
                  <a:lnTo>
                    <a:pt x="94298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2D3A336-F230-42F9-BAC0-BF8E2C064CF9}"/>
                </a:ext>
              </a:extLst>
            </p:cNvPr>
            <p:cNvSpPr/>
            <p:nvPr/>
          </p:nvSpPr>
          <p:spPr bwMode="gray">
            <a:xfrm>
              <a:off x="4408169" y="2407919"/>
              <a:ext cx="126682" cy="139064"/>
            </a:xfrm>
            <a:custGeom>
              <a:avLst/>
              <a:gdLst>
                <a:gd name="connsiteX0" fmla="*/ 95250 w 126682"/>
                <a:gd name="connsiteY0" fmla="*/ 54293 h 139064"/>
                <a:gd name="connsiteX1" fmla="*/ 31432 w 126682"/>
                <a:gd name="connsiteY1" fmla="*/ 54293 h 139064"/>
                <a:gd name="connsiteX2" fmla="*/ 31432 w 126682"/>
                <a:gd name="connsiteY2" fmla="*/ 0 h 139064"/>
                <a:gd name="connsiteX3" fmla="*/ 0 w 126682"/>
                <a:gd name="connsiteY3" fmla="*/ 0 h 139064"/>
                <a:gd name="connsiteX4" fmla="*/ 0 w 126682"/>
                <a:gd name="connsiteY4" fmla="*/ 139065 h 139064"/>
                <a:gd name="connsiteX5" fmla="*/ 31432 w 126682"/>
                <a:gd name="connsiteY5" fmla="*/ 139065 h 139064"/>
                <a:gd name="connsiteX6" fmla="*/ 31432 w 126682"/>
                <a:gd name="connsiteY6" fmla="*/ 85725 h 139064"/>
                <a:gd name="connsiteX7" fmla="*/ 95250 w 126682"/>
                <a:gd name="connsiteY7" fmla="*/ 85725 h 139064"/>
                <a:gd name="connsiteX8" fmla="*/ 95250 w 126682"/>
                <a:gd name="connsiteY8" fmla="*/ 139065 h 139064"/>
                <a:gd name="connsiteX9" fmla="*/ 126682 w 126682"/>
                <a:gd name="connsiteY9" fmla="*/ 139065 h 139064"/>
                <a:gd name="connsiteX10" fmla="*/ 126682 w 126682"/>
                <a:gd name="connsiteY10" fmla="*/ 0 h 139064"/>
                <a:gd name="connsiteX11" fmla="*/ 95250 w 126682"/>
                <a:gd name="connsiteY11" fmla="*/ 0 h 139064"/>
                <a:gd name="connsiteX12" fmla="*/ 95250 w 126682"/>
                <a:gd name="connsiteY12" fmla="*/ 5429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682" h="139064">
                  <a:moveTo>
                    <a:pt x="95250" y="54293"/>
                  </a:moveTo>
                  <a:lnTo>
                    <a:pt x="31432" y="54293"/>
                  </a:lnTo>
                  <a:lnTo>
                    <a:pt x="31432" y="0"/>
                  </a:ln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85725"/>
                  </a:lnTo>
                  <a:lnTo>
                    <a:pt x="95250" y="85725"/>
                  </a:lnTo>
                  <a:lnTo>
                    <a:pt x="95250" y="139065"/>
                  </a:lnTo>
                  <a:lnTo>
                    <a:pt x="126682" y="139065"/>
                  </a:lnTo>
                  <a:lnTo>
                    <a:pt x="126682" y="0"/>
                  </a:lnTo>
                  <a:lnTo>
                    <a:pt x="95250" y="0"/>
                  </a:lnTo>
                  <a:lnTo>
                    <a:pt x="95250" y="5429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3EE3DE60-224A-4FC0-AAAF-102E2767C051}"/>
                </a:ext>
              </a:extLst>
            </p:cNvPr>
            <p:cNvSpPr/>
            <p:nvPr/>
          </p:nvSpPr>
          <p:spPr bwMode="gray">
            <a:xfrm>
              <a:off x="5043487" y="2407919"/>
              <a:ext cx="96202" cy="139064"/>
            </a:xfrm>
            <a:custGeom>
              <a:avLst/>
              <a:gdLst>
                <a:gd name="connsiteX0" fmla="*/ 55245 w 96202"/>
                <a:gd name="connsiteY0" fmla="*/ 0 h 139064"/>
                <a:gd name="connsiteX1" fmla="*/ 0 w 96202"/>
                <a:gd name="connsiteY1" fmla="*/ 69533 h 139064"/>
                <a:gd name="connsiteX2" fmla="*/ 55245 w 96202"/>
                <a:gd name="connsiteY2" fmla="*/ 139065 h 139064"/>
                <a:gd name="connsiteX3" fmla="*/ 96202 w 96202"/>
                <a:gd name="connsiteY3" fmla="*/ 139065 h 139064"/>
                <a:gd name="connsiteX4" fmla="*/ 40958 w 96202"/>
                <a:gd name="connsiteY4" fmla="*/ 69533 h 139064"/>
                <a:gd name="connsiteX5" fmla="*/ 96202 w 96202"/>
                <a:gd name="connsiteY5" fmla="*/ 0 h 139064"/>
                <a:gd name="connsiteX6" fmla="*/ 55245 w 96202"/>
                <a:gd name="connsiteY6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202" h="139064">
                  <a:moveTo>
                    <a:pt x="55245" y="0"/>
                  </a:moveTo>
                  <a:lnTo>
                    <a:pt x="0" y="69533"/>
                  </a:lnTo>
                  <a:lnTo>
                    <a:pt x="55245" y="139065"/>
                  </a:lnTo>
                  <a:lnTo>
                    <a:pt x="96202" y="139065"/>
                  </a:lnTo>
                  <a:lnTo>
                    <a:pt x="40958" y="69533"/>
                  </a:lnTo>
                  <a:lnTo>
                    <a:pt x="96202" y="0"/>
                  </a:lnTo>
                  <a:lnTo>
                    <a:pt x="55245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2C6A57F5-498F-45CB-B735-84AB46999A72}"/>
                </a:ext>
              </a:extLst>
            </p:cNvPr>
            <p:cNvSpPr/>
            <p:nvPr/>
          </p:nvSpPr>
          <p:spPr bwMode="gray">
            <a:xfrm>
              <a:off x="5007292" y="2407919"/>
              <a:ext cx="31432" cy="139065"/>
            </a:xfrm>
            <a:custGeom>
              <a:avLst/>
              <a:gdLst>
                <a:gd name="connsiteX0" fmla="*/ 0 w 31432"/>
                <a:gd name="connsiteY0" fmla="*/ 0 h 139065"/>
                <a:gd name="connsiteX1" fmla="*/ 31433 w 31432"/>
                <a:gd name="connsiteY1" fmla="*/ 0 h 139065"/>
                <a:gd name="connsiteX2" fmla="*/ 31433 w 31432"/>
                <a:gd name="connsiteY2" fmla="*/ 139065 h 139065"/>
                <a:gd name="connsiteX3" fmla="*/ 0 w 31432"/>
                <a:gd name="connsiteY3" fmla="*/ 139065 h 13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" h="139065">
                  <a:moveTo>
                    <a:pt x="0" y="0"/>
                  </a:moveTo>
                  <a:lnTo>
                    <a:pt x="31433" y="0"/>
                  </a:lnTo>
                  <a:lnTo>
                    <a:pt x="31433" y="139065"/>
                  </a:lnTo>
                  <a:lnTo>
                    <a:pt x="0" y="13906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09134102-DEDD-44D3-8DA7-7CEFF716A7EF}"/>
                </a:ext>
              </a:extLst>
            </p:cNvPr>
            <p:cNvSpPr/>
            <p:nvPr/>
          </p:nvSpPr>
          <p:spPr bwMode="gray">
            <a:xfrm>
              <a:off x="4565331" y="2407919"/>
              <a:ext cx="126682" cy="139064"/>
            </a:xfrm>
            <a:custGeom>
              <a:avLst/>
              <a:gdLst>
                <a:gd name="connsiteX0" fmla="*/ 31432 w 126682"/>
                <a:gd name="connsiteY0" fmla="*/ 31433 h 139064"/>
                <a:gd name="connsiteX1" fmla="*/ 77153 w 126682"/>
                <a:gd name="connsiteY1" fmla="*/ 31433 h 139064"/>
                <a:gd name="connsiteX2" fmla="*/ 92393 w 126682"/>
                <a:gd name="connsiteY2" fmla="*/ 46673 h 139064"/>
                <a:gd name="connsiteX3" fmla="*/ 77153 w 126682"/>
                <a:gd name="connsiteY3" fmla="*/ 61913 h 139064"/>
                <a:gd name="connsiteX4" fmla="*/ 31432 w 126682"/>
                <a:gd name="connsiteY4" fmla="*/ 61913 h 139064"/>
                <a:gd name="connsiteX5" fmla="*/ 123825 w 126682"/>
                <a:gd name="connsiteY5" fmla="*/ 46673 h 139064"/>
                <a:gd name="connsiteX6" fmla="*/ 77153 w 126682"/>
                <a:gd name="connsiteY6" fmla="*/ 0 h 139064"/>
                <a:gd name="connsiteX7" fmla="*/ 0 w 126682"/>
                <a:gd name="connsiteY7" fmla="*/ 0 h 139064"/>
                <a:gd name="connsiteX8" fmla="*/ 0 w 126682"/>
                <a:gd name="connsiteY8" fmla="*/ 139065 h 139064"/>
                <a:gd name="connsiteX9" fmla="*/ 31432 w 126682"/>
                <a:gd name="connsiteY9" fmla="*/ 139065 h 139064"/>
                <a:gd name="connsiteX10" fmla="*/ 31432 w 126682"/>
                <a:gd name="connsiteY10" fmla="*/ 92393 h 139064"/>
                <a:gd name="connsiteX11" fmla="*/ 57150 w 126682"/>
                <a:gd name="connsiteY11" fmla="*/ 92393 h 139064"/>
                <a:gd name="connsiteX12" fmla="*/ 88582 w 126682"/>
                <a:gd name="connsiteY12" fmla="*/ 139065 h 139064"/>
                <a:gd name="connsiteX13" fmla="*/ 126682 w 126682"/>
                <a:gd name="connsiteY13" fmla="*/ 139065 h 139064"/>
                <a:gd name="connsiteX14" fmla="*/ 93345 w 126682"/>
                <a:gd name="connsiteY14" fmla="*/ 89535 h 139064"/>
                <a:gd name="connsiteX15" fmla="*/ 123825 w 126682"/>
                <a:gd name="connsiteY15" fmla="*/ 4667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682" h="139064">
                  <a:moveTo>
                    <a:pt x="31432" y="31433"/>
                  </a:moveTo>
                  <a:lnTo>
                    <a:pt x="77153" y="31433"/>
                  </a:lnTo>
                  <a:cubicBezTo>
                    <a:pt x="85569" y="31433"/>
                    <a:pt x="92393" y="38256"/>
                    <a:pt x="92393" y="46673"/>
                  </a:cubicBezTo>
                  <a:cubicBezTo>
                    <a:pt x="92393" y="55089"/>
                    <a:pt x="85569" y="61913"/>
                    <a:pt x="77153" y="61913"/>
                  </a:cubicBezTo>
                  <a:lnTo>
                    <a:pt x="31432" y="61913"/>
                  </a:lnTo>
                  <a:close/>
                  <a:moveTo>
                    <a:pt x="123825" y="46673"/>
                  </a:moveTo>
                  <a:cubicBezTo>
                    <a:pt x="123773" y="20918"/>
                    <a:pt x="102907" y="52"/>
                    <a:pt x="77153" y="0"/>
                  </a:cubicBez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92393"/>
                  </a:lnTo>
                  <a:lnTo>
                    <a:pt x="57150" y="92393"/>
                  </a:lnTo>
                  <a:lnTo>
                    <a:pt x="88582" y="139065"/>
                  </a:lnTo>
                  <a:lnTo>
                    <a:pt x="126682" y="139065"/>
                  </a:lnTo>
                  <a:lnTo>
                    <a:pt x="93345" y="89535"/>
                  </a:lnTo>
                  <a:cubicBezTo>
                    <a:pt x="111440" y="82990"/>
                    <a:pt x="123584" y="65914"/>
                    <a:pt x="123825" y="4667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C105442-178D-474A-B457-AD101DD20812}"/>
                </a:ext>
              </a:extLst>
            </p:cNvPr>
            <p:cNvSpPr/>
            <p:nvPr/>
          </p:nvSpPr>
          <p:spPr bwMode="gray">
            <a:xfrm>
              <a:off x="4248149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1816 w 141922"/>
                <a:gd name="connsiteY10" fmla="*/ 31433 h 144780"/>
                <a:gd name="connsiteX11" fmla="*/ 72390 w 141922"/>
                <a:gd name="connsiteY11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274" y="49928"/>
                    <a:pt x="49355" y="31591"/>
                    <a:pt x="71816" y="31433"/>
                  </a:cubicBezTo>
                  <a:cubicBezTo>
                    <a:pt x="72008" y="31431"/>
                    <a:pt x="72199" y="31431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6FB1FEB-5596-425B-AD7A-3094910DE6E1}"/>
                </a:ext>
              </a:extLst>
            </p:cNvPr>
            <p:cNvSpPr/>
            <p:nvPr/>
          </p:nvSpPr>
          <p:spPr bwMode="gray">
            <a:xfrm>
              <a:off x="4847272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936" y="49982"/>
                    <a:pt x="49982" y="31936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43B54F9-F253-402F-8F15-9255B0650DBD}"/>
                </a:ext>
              </a:extLst>
            </p:cNvPr>
            <p:cNvSpPr/>
            <p:nvPr/>
          </p:nvSpPr>
          <p:spPr bwMode="gray">
            <a:xfrm>
              <a:off x="4005262" y="2592704"/>
              <a:ext cx="153352" cy="140017"/>
            </a:xfrm>
            <a:custGeom>
              <a:avLst/>
              <a:gdLst>
                <a:gd name="connsiteX0" fmla="*/ 58103 w 153352"/>
                <a:gd name="connsiteY0" fmla="*/ 54292 h 140017"/>
                <a:gd name="connsiteX1" fmla="*/ 46673 w 153352"/>
                <a:gd name="connsiteY1" fmla="*/ 42862 h 140017"/>
                <a:gd name="connsiteX2" fmla="*/ 58103 w 153352"/>
                <a:gd name="connsiteY2" fmla="*/ 31432 h 140017"/>
                <a:gd name="connsiteX3" fmla="*/ 138113 w 153352"/>
                <a:gd name="connsiteY3" fmla="*/ 31432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3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3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3 w 153352"/>
                <a:gd name="connsiteY14" fmla="*/ 140018 h 140017"/>
                <a:gd name="connsiteX15" fmla="*/ 139065 w 153352"/>
                <a:gd name="connsiteY15" fmla="*/ 97155 h 140017"/>
                <a:gd name="connsiteX16" fmla="*/ 96203 w 153352"/>
                <a:gd name="connsiteY16" fmla="*/ 5429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2"/>
                  </a:moveTo>
                  <a:cubicBezTo>
                    <a:pt x="51790" y="54292"/>
                    <a:pt x="46673" y="49175"/>
                    <a:pt x="46673" y="42862"/>
                  </a:cubicBezTo>
                  <a:cubicBezTo>
                    <a:pt x="46673" y="36550"/>
                    <a:pt x="51790" y="31432"/>
                    <a:pt x="58103" y="31432"/>
                  </a:cubicBezTo>
                  <a:lnTo>
                    <a:pt x="138113" y="31432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3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3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3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3"/>
                    <a:pt x="96203" y="54293"/>
                  </a:cubicBez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DA0BA76-7E00-465A-818C-6C74FEDD3A5D}"/>
                </a:ext>
              </a:extLst>
            </p:cNvPr>
            <p:cNvSpPr/>
            <p:nvPr/>
          </p:nvSpPr>
          <p:spPr bwMode="gray">
            <a:xfrm>
              <a:off x="4914899" y="2592704"/>
              <a:ext cx="124777" cy="140017"/>
            </a:xfrm>
            <a:custGeom>
              <a:avLst/>
              <a:gdLst>
                <a:gd name="connsiteX0" fmla="*/ 0 w 124777"/>
                <a:gd name="connsiteY0" fmla="*/ 0 h 140017"/>
                <a:gd name="connsiteX1" fmla="*/ 0 w 124777"/>
                <a:gd name="connsiteY1" fmla="*/ 32385 h 140017"/>
                <a:gd name="connsiteX2" fmla="*/ 46673 w 124777"/>
                <a:gd name="connsiteY2" fmla="*/ 32385 h 140017"/>
                <a:gd name="connsiteX3" fmla="*/ 46673 w 124777"/>
                <a:gd name="connsiteY3" fmla="*/ 140018 h 140017"/>
                <a:gd name="connsiteX4" fmla="*/ 78105 w 124777"/>
                <a:gd name="connsiteY4" fmla="*/ 140018 h 140017"/>
                <a:gd name="connsiteX5" fmla="*/ 78105 w 124777"/>
                <a:gd name="connsiteY5" fmla="*/ 32385 h 140017"/>
                <a:gd name="connsiteX6" fmla="*/ 124777 w 124777"/>
                <a:gd name="connsiteY6" fmla="*/ 32385 h 140017"/>
                <a:gd name="connsiteX7" fmla="*/ 124777 w 124777"/>
                <a:gd name="connsiteY7" fmla="*/ 0 h 140017"/>
                <a:gd name="connsiteX8" fmla="*/ 0 w 124777"/>
                <a:gd name="connsiteY8" fmla="*/ 0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777" h="140017">
                  <a:moveTo>
                    <a:pt x="0" y="0"/>
                  </a:moveTo>
                  <a:lnTo>
                    <a:pt x="0" y="32385"/>
                  </a:lnTo>
                  <a:lnTo>
                    <a:pt x="46673" y="32385"/>
                  </a:lnTo>
                  <a:lnTo>
                    <a:pt x="46673" y="140018"/>
                  </a:lnTo>
                  <a:lnTo>
                    <a:pt x="78105" y="140018"/>
                  </a:lnTo>
                  <a:lnTo>
                    <a:pt x="78105" y="32385"/>
                  </a:lnTo>
                  <a:lnTo>
                    <a:pt x="124777" y="32385"/>
                  </a:lnTo>
                  <a:lnTo>
                    <a:pt x="1247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965E6B93-1F99-4749-9251-E03C419F32B8}"/>
                </a:ext>
              </a:extLst>
            </p:cNvPr>
            <p:cNvSpPr/>
            <p:nvPr/>
          </p:nvSpPr>
          <p:spPr bwMode="gray">
            <a:xfrm>
              <a:off x="4179569" y="2592704"/>
              <a:ext cx="110490" cy="140017"/>
            </a:xfrm>
            <a:custGeom>
              <a:avLst/>
              <a:gdLst>
                <a:gd name="connsiteX0" fmla="*/ 0 w 110490"/>
                <a:gd name="connsiteY0" fmla="*/ 140018 h 140017"/>
                <a:gd name="connsiteX1" fmla="*/ 110490 w 110490"/>
                <a:gd name="connsiteY1" fmla="*/ 140018 h 140017"/>
                <a:gd name="connsiteX2" fmla="*/ 110490 w 110490"/>
                <a:gd name="connsiteY2" fmla="*/ 107632 h 140017"/>
                <a:gd name="connsiteX3" fmla="*/ 32385 w 110490"/>
                <a:gd name="connsiteY3" fmla="*/ 107632 h 140017"/>
                <a:gd name="connsiteX4" fmla="*/ 32385 w 110490"/>
                <a:gd name="connsiteY4" fmla="*/ 84773 h 140017"/>
                <a:gd name="connsiteX5" fmla="*/ 102870 w 110490"/>
                <a:gd name="connsiteY5" fmla="*/ 84773 h 140017"/>
                <a:gd name="connsiteX6" fmla="*/ 102870 w 110490"/>
                <a:gd name="connsiteY6" fmla="*/ 55245 h 140017"/>
                <a:gd name="connsiteX7" fmla="*/ 32385 w 110490"/>
                <a:gd name="connsiteY7" fmla="*/ 55245 h 140017"/>
                <a:gd name="connsiteX8" fmla="*/ 32385 w 110490"/>
                <a:gd name="connsiteY8" fmla="*/ 32385 h 140017"/>
                <a:gd name="connsiteX9" fmla="*/ 110490 w 110490"/>
                <a:gd name="connsiteY9" fmla="*/ 32385 h 140017"/>
                <a:gd name="connsiteX10" fmla="*/ 110490 w 110490"/>
                <a:gd name="connsiteY10" fmla="*/ 0 h 140017"/>
                <a:gd name="connsiteX11" fmla="*/ 0 w 110490"/>
                <a:gd name="connsiteY11" fmla="*/ 0 h 140017"/>
                <a:gd name="connsiteX12" fmla="*/ 0 w 110490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90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727770B0-2A60-4714-AAF2-D3F5D16DFF11}"/>
                </a:ext>
              </a:extLst>
            </p:cNvPr>
            <p:cNvSpPr/>
            <p:nvPr/>
          </p:nvSpPr>
          <p:spPr bwMode="gray">
            <a:xfrm>
              <a:off x="4787264" y="2592704"/>
              <a:ext cx="110489" cy="140017"/>
            </a:xfrm>
            <a:custGeom>
              <a:avLst/>
              <a:gdLst>
                <a:gd name="connsiteX0" fmla="*/ 0 w 110489"/>
                <a:gd name="connsiteY0" fmla="*/ 140018 h 140017"/>
                <a:gd name="connsiteX1" fmla="*/ 110490 w 110489"/>
                <a:gd name="connsiteY1" fmla="*/ 140018 h 140017"/>
                <a:gd name="connsiteX2" fmla="*/ 110490 w 110489"/>
                <a:gd name="connsiteY2" fmla="*/ 107632 h 140017"/>
                <a:gd name="connsiteX3" fmla="*/ 32385 w 110489"/>
                <a:gd name="connsiteY3" fmla="*/ 107632 h 140017"/>
                <a:gd name="connsiteX4" fmla="*/ 32385 w 110489"/>
                <a:gd name="connsiteY4" fmla="*/ 84773 h 140017"/>
                <a:gd name="connsiteX5" fmla="*/ 102870 w 110489"/>
                <a:gd name="connsiteY5" fmla="*/ 84773 h 140017"/>
                <a:gd name="connsiteX6" fmla="*/ 102870 w 110489"/>
                <a:gd name="connsiteY6" fmla="*/ 55245 h 140017"/>
                <a:gd name="connsiteX7" fmla="*/ 32385 w 110489"/>
                <a:gd name="connsiteY7" fmla="*/ 55245 h 140017"/>
                <a:gd name="connsiteX8" fmla="*/ 32385 w 110489"/>
                <a:gd name="connsiteY8" fmla="*/ 32385 h 140017"/>
                <a:gd name="connsiteX9" fmla="*/ 110490 w 110489"/>
                <a:gd name="connsiteY9" fmla="*/ 32385 h 140017"/>
                <a:gd name="connsiteX10" fmla="*/ 110490 w 110489"/>
                <a:gd name="connsiteY10" fmla="*/ 0 h 140017"/>
                <a:gd name="connsiteX11" fmla="*/ 0 w 110489"/>
                <a:gd name="connsiteY11" fmla="*/ 0 h 140017"/>
                <a:gd name="connsiteX12" fmla="*/ 0 w 110489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89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3C7EBCC2-09E2-4456-86FF-4EFC775434C8}"/>
                </a:ext>
              </a:extLst>
            </p:cNvPr>
            <p:cNvSpPr/>
            <p:nvPr/>
          </p:nvSpPr>
          <p:spPr bwMode="gray">
            <a:xfrm>
              <a:off x="4309109" y="2590799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3862 w 141922"/>
                <a:gd name="connsiteY8" fmla="*/ 108633 h 144780"/>
                <a:gd name="connsiteX9" fmla="*/ 35716 w 141922"/>
                <a:gd name="connsiteY9" fmla="*/ 5391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484" y="110610"/>
                    <a:pt x="73984" y="118734"/>
                    <a:pt x="53862" y="108633"/>
                  </a:cubicBezTo>
                  <a:cubicBezTo>
                    <a:pt x="33740" y="98533"/>
                    <a:pt x="25615" y="74032"/>
                    <a:pt x="35716" y="53910"/>
                  </a:cubicBezTo>
                  <a:cubicBezTo>
                    <a:pt x="42672" y="40053"/>
                    <a:pt x="56886" y="31342"/>
                    <a:pt x="72390" y="31433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04F0E3F-8138-49B0-86CD-3456D24815A0}"/>
                </a:ext>
              </a:extLst>
            </p:cNvPr>
            <p:cNvSpPr/>
            <p:nvPr/>
          </p:nvSpPr>
          <p:spPr bwMode="gray">
            <a:xfrm>
              <a:off x="4467224" y="2590799"/>
              <a:ext cx="144779" cy="144780"/>
            </a:xfrm>
            <a:custGeom>
              <a:avLst/>
              <a:gdLst>
                <a:gd name="connsiteX0" fmla="*/ 72390 w 144779"/>
                <a:gd name="connsiteY0" fmla="*/ 0 h 144780"/>
                <a:gd name="connsiteX1" fmla="*/ 0 w 144779"/>
                <a:gd name="connsiteY1" fmla="*/ 72390 h 144780"/>
                <a:gd name="connsiteX2" fmla="*/ 72390 w 144779"/>
                <a:gd name="connsiteY2" fmla="*/ 144780 h 144780"/>
                <a:gd name="connsiteX3" fmla="*/ 144780 w 144779"/>
                <a:gd name="connsiteY3" fmla="*/ 72390 h 144780"/>
                <a:gd name="connsiteX4" fmla="*/ 72390 w 144779"/>
                <a:gd name="connsiteY4" fmla="*/ 0 h 144780"/>
                <a:gd name="connsiteX5" fmla="*/ 72390 w 144779"/>
                <a:gd name="connsiteY5" fmla="*/ 112395 h 144780"/>
                <a:gd name="connsiteX6" fmla="*/ 31432 w 144779"/>
                <a:gd name="connsiteY6" fmla="*/ 71438 h 144780"/>
                <a:gd name="connsiteX7" fmla="*/ 72390 w 144779"/>
                <a:gd name="connsiteY7" fmla="*/ 30480 h 144780"/>
                <a:gd name="connsiteX8" fmla="*/ 113347 w 144779"/>
                <a:gd name="connsiteY8" fmla="*/ 71438 h 144780"/>
                <a:gd name="connsiteX9" fmla="*/ 72964 w 144779"/>
                <a:gd name="connsiteY9" fmla="*/ 112395 h 144780"/>
                <a:gd name="connsiteX10" fmla="*/ 72390 w 144779"/>
                <a:gd name="connsiteY10" fmla="*/ 112395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779" h="144780">
                  <a:moveTo>
                    <a:pt x="72390" y="0"/>
                  </a:move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12370" y="144780"/>
                    <a:pt x="144780" y="112370"/>
                    <a:pt x="144780" y="72390"/>
                  </a:cubicBezTo>
                  <a:cubicBezTo>
                    <a:pt x="144780" y="32410"/>
                    <a:pt x="112370" y="0"/>
                    <a:pt x="72390" y="0"/>
                  </a:cubicBezTo>
                  <a:moveTo>
                    <a:pt x="72390" y="112395"/>
                  </a:moveTo>
                  <a:cubicBezTo>
                    <a:pt x="49770" y="112395"/>
                    <a:pt x="31432" y="94058"/>
                    <a:pt x="31432" y="71438"/>
                  </a:cubicBezTo>
                  <a:cubicBezTo>
                    <a:pt x="31432" y="48817"/>
                    <a:pt x="49770" y="30480"/>
                    <a:pt x="72390" y="30480"/>
                  </a:cubicBezTo>
                  <a:cubicBezTo>
                    <a:pt x="95010" y="30480"/>
                    <a:pt x="113347" y="48817"/>
                    <a:pt x="113347" y="71438"/>
                  </a:cubicBezTo>
                  <a:cubicBezTo>
                    <a:pt x="113506" y="93899"/>
                    <a:pt x="95425" y="112237"/>
                    <a:pt x="72964" y="112395"/>
                  </a:cubicBezTo>
                  <a:cubicBezTo>
                    <a:pt x="72772" y="112396"/>
                    <a:pt x="72581" y="112396"/>
                    <a:pt x="72390" y="112395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AEB14FBA-D0D9-493C-8826-D5DB9C87A690}"/>
                </a:ext>
              </a:extLst>
            </p:cNvPr>
            <p:cNvSpPr/>
            <p:nvPr/>
          </p:nvSpPr>
          <p:spPr bwMode="gray">
            <a:xfrm>
              <a:off x="4631054" y="2592704"/>
              <a:ext cx="128587" cy="140017"/>
            </a:xfrm>
            <a:custGeom>
              <a:avLst/>
              <a:gdLst>
                <a:gd name="connsiteX0" fmla="*/ 97155 w 128587"/>
                <a:gd name="connsiteY0" fmla="*/ 84773 h 140017"/>
                <a:gd name="connsiteX1" fmla="*/ 97155 w 128587"/>
                <a:gd name="connsiteY1" fmla="*/ 84773 h 140017"/>
                <a:gd name="connsiteX2" fmla="*/ 97155 w 128587"/>
                <a:gd name="connsiteY2" fmla="*/ 84773 h 140017"/>
                <a:gd name="connsiteX3" fmla="*/ 27623 w 128587"/>
                <a:gd name="connsiteY3" fmla="*/ 0 h 140017"/>
                <a:gd name="connsiteX4" fmla="*/ 0 w 128587"/>
                <a:gd name="connsiteY4" fmla="*/ 0 h 140017"/>
                <a:gd name="connsiteX5" fmla="*/ 0 w 128587"/>
                <a:gd name="connsiteY5" fmla="*/ 140018 h 140017"/>
                <a:gd name="connsiteX6" fmla="*/ 31433 w 128587"/>
                <a:gd name="connsiteY6" fmla="*/ 140018 h 140017"/>
                <a:gd name="connsiteX7" fmla="*/ 31433 w 128587"/>
                <a:gd name="connsiteY7" fmla="*/ 55245 h 140017"/>
                <a:gd name="connsiteX8" fmla="*/ 100965 w 128587"/>
                <a:gd name="connsiteY8" fmla="*/ 140018 h 140017"/>
                <a:gd name="connsiteX9" fmla="*/ 100965 w 128587"/>
                <a:gd name="connsiteY9" fmla="*/ 140018 h 140017"/>
                <a:gd name="connsiteX10" fmla="*/ 128588 w 128587"/>
                <a:gd name="connsiteY10" fmla="*/ 140018 h 140017"/>
                <a:gd name="connsiteX11" fmla="*/ 128588 w 128587"/>
                <a:gd name="connsiteY11" fmla="*/ 0 h 140017"/>
                <a:gd name="connsiteX12" fmla="*/ 97155 w 128587"/>
                <a:gd name="connsiteY12" fmla="*/ 0 h 140017"/>
                <a:gd name="connsiteX13" fmla="*/ 97155 w 128587"/>
                <a:gd name="connsiteY13" fmla="*/ 8477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587" h="140017">
                  <a:moveTo>
                    <a:pt x="97155" y="84773"/>
                  </a:moveTo>
                  <a:lnTo>
                    <a:pt x="97155" y="84773"/>
                  </a:lnTo>
                  <a:lnTo>
                    <a:pt x="97155" y="84773"/>
                  </a:lnTo>
                  <a:lnTo>
                    <a:pt x="27623" y="0"/>
                  </a:lnTo>
                  <a:lnTo>
                    <a:pt x="0" y="0"/>
                  </a:lnTo>
                  <a:lnTo>
                    <a:pt x="0" y="140018"/>
                  </a:lnTo>
                  <a:lnTo>
                    <a:pt x="31433" y="140018"/>
                  </a:lnTo>
                  <a:lnTo>
                    <a:pt x="31433" y="55245"/>
                  </a:lnTo>
                  <a:lnTo>
                    <a:pt x="100965" y="140018"/>
                  </a:lnTo>
                  <a:lnTo>
                    <a:pt x="100965" y="140018"/>
                  </a:lnTo>
                  <a:lnTo>
                    <a:pt x="128588" y="140018"/>
                  </a:lnTo>
                  <a:lnTo>
                    <a:pt x="128588" y="0"/>
                  </a:lnTo>
                  <a:lnTo>
                    <a:pt x="97155" y="0"/>
                  </a:lnTo>
                  <a:lnTo>
                    <a:pt x="97155" y="84773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73AD3D03-9A8B-44B6-89C3-D572AD97724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white">
          <a:xfrm>
            <a:off x="762171" y="6249044"/>
            <a:ext cx="132600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>
                <a:solidFill>
                  <a:schemeClr val="bg1"/>
                </a:solidFill>
              </a:rPr>
              <a:t>schrack-seconet.com</a:t>
            </a:r>
            <a:endParaRPr lang="en-GB" sz="900" dirty="0">
              <a:solidFill>
                <a:schemeClr val="bg1"/>
              </a:solidFill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62C3DB5-1EA2-4D73-B9A0-EE76D3F301B9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4670357" y="-1"/>
            <a:ext cx="7521644" cy="6857188"/>
          </a:xfrm>
          <a:prstGeom prst="rect">
            <a:avLst/>
          </a:prstGeom>
        </p:spPr>
      </p:pic>
      <p:grpSp>
        <p:nvGrpSpPr>
          <p:cNvPr id="25" name="Grafik 8">
            <a:extLst>
              <a:ext uri="{FF2B5EF4-FFF2-40B4-BE49-F238E27FC236}">
                <a16:creationId xmlns:a16="http://schemas.microsoft.com/office/drawing/2014/main" id="{FFB6F6FD-EFA7-47B3-9C43-DB0A3A2A2744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 bwMode="gray">
          <a:xfrm>
            <a:off x="3449103" y="2656959"/>
            <a:ext cx="5299735" cy="1544085"/>
            <a:chOff x="4005262" y="2405061"/>
            <a:chExt cx="1134427" cy="330517"/>
          </a:xfrm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A38D0EBF-F8C9-439B-9D16-AD1A4884FFEB}"/>
                </a:ext>
              </a:extLst>
            </p:cNvPr>
            <p:cNvSpPr/>
            <p:nvPr/>
          </p:nvSpPr>
          <p:spPr bwMode="gray">
            <a:xfrm>
              <a:off x="4092891" y="2406967"/>
              <a:ext cx="153352" cy="140017"/>
            </a:xfrm>
            <a:custGeom>
              <a:avLst/>
              <a:gdLst>
                <a:gd name="connsiteX0" fmla="*/ 58103 w 153352"/>
                <a:gd name="connsiteY0" fmla="*/ 54293 h 140017"/>
                <a:gd name="connsiteX1" fmla="*/ 46673 w 153352"/>
                <a:gd name="connsiteY1" fmla="*/ 42863 h 140017"/>
                <a:gd name="connsiteX2" fmla="*/ 58103 w 153352"/>
                <a:gd name="connsiteY2" fmla="*/ 31433 h 140017"/>
                <a:gd name="connsiteX3" fmla="*/ 138113 w 153352"/>
                <a:gd name="connsiteY3" fmla="*/ 31433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2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2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2 w 153352"/>
                <a:gd name="connsiteY14" fmla="*/ 140018 h 140017"/>
                <a:gd name="connsiteX15" fmla="*/ 139065 w 153352"/>
                <a:gd name="connsiteY15" fmla="*/ 97155 h 140017"/>
                <a:gd name="connsiteX16" fmla="*/ 96202 w 153352"/>
                <a:gd name="connsiteY16" fmla="*/ 54292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3"/>
                  </a:moveTo>
                  <a:cubicBezTo>
                    <a:pt x="51790" y="54293"/>
                    <a:pt x="46673" y="49175"/>
                    <a:pt x="46673" y="42863"/>
                  </a:cubicBezTo>
                  <a:cubicBezTo>
                    <a:pt x="46673" y="36550"/>
                    <a:pt x="51790" y="31433"/>
                    <a:pt x="58103" y="31433"/>
                  </a:cubicBezTo>
                  <a:lnTo>
                    <a:pt x="138113" y="31433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2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2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2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2"/>
                    <a:pt x="96202" y="5429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4147B89-A47E-4D02-83A8-641D7D8D5EFD}"/>
                </a:ext>
              </a:extLst>
            </p:cNvPr>
            <p:cNvSpPr/>
            <p:nvPr/>
          </p:nvSpPr>
          <p:spPr bwMode="gray">
            <a:xfrm>
              <a:off x="4704397" y="2407919"/>
              <a:ext cx="143827" cy="139064"/>
            </a:xfrm>
            <a:custGeom>
              <a:avLst/>
              <a:gdLst>
                <a:gd name="connsiteX0" fmla="*/ 50482 w 143827"/>
                <a:gd name="connsiteY0" fmla="*/ 88583 h 139064"/>
                <a:gd name="connsiteX1" fmla="*/ 50482 w 143827"/>
                <a:gd name="connsiteY1" fmla="*/ 88583 h 139064"/>
                <a:gd name="connsiteX2" fmla="*/ 71438 w 143827"/>
                <a:gd name="connsiteY2" fmla="*/ 32385 h 139064"/>
                <a:gd name="connsiteX3" fmla="*/ 72390 w 143827"/>
                <a:gd name="connsiteY3" fmla="*/ 32385 h 139064"/>
                <a:gd name="connsiteX4" fmla="*/ 93345 w 143827"/>
                <a:gd name="connsiteY4" fmla="*/ 88583 h 139064"/>
                <a:gd name="connsiteX5" fmla="*/ 50482 w 143827"/>
                <a:gd name="connsiteY5" fmla="*/ 88583 h 139064"/>
                <a:gd name="connsiteX6" fmla="*/ 49530 w 143827"/>
                <a:gd name="connsiteY6" fmla="*/ 0 h 139064"/>
                <a:gd name="connsiteX7" fmla="*/ 0 w 143827"/>
                <a:gd name="connsiteY7" fmla="*/ 139065 h 139064"/>
                <a:gd name="connsiteX8" fmla="*/ 33338 w 143827"/>
                <a:gd name="connsiteY8" fmla="*/ 139065 h 139064"/>
                <a:gd name="connsiteX9" fmla="*/ 40957 w 143827"/>
                <a:gd name="connsiteY9" fmla="*/ 118110 h 139064"/>
                <a:gd name="connsiteX10" fmla="*/ 102870 w 143827"/>
                <a:gd name="connsiteY10" fmla="*/ 118110 h 139064"/>
                <a:gd name="connsiteX11" fmla="*/ 110490 w 143827"/>
                <a:gd name="connsiteY11" fmla="*/ 139065 h 139064"/>
                <a:gd name="connsiteX12" fmla="*/ 143827 w 143827"/>
                <a:gd name="connsiteY12" fmla="*/ 139065 h 139064"/>
                <a:gd name="connsiteX13" fmla="*/ 94298 w 143827"/>
                <a:gd name="connsiteY13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27" h="139064">
                  <a:moveTo>
                    <a:pt x="50482" y="88583"/>
                  </a:moveTo>
                  <a:lnTo>
                    <a:pt x="50482" y="88583"/>
                  </a:lnTo>
                  <a:lnTo>
                    <a:pt x="71438" y="32385"/>
                  </a:lnTo>
                  <a:lnTo>
                    <a:pt x="72390" y="32385"/>
                  </a:lnTo>
                  <a:lnTo>
                    <a:pt x="93345" y="88583"/>
                  </a:lnTo>
                  <a:lnTo>
                    <a:pt x="50482" y="88583"/>
                  </a:lnTo>
                  <a:close/>
                  <a:moveTo>
                    <a:pt x="49530" y="0"/>
                  </a:moveTo>
                  <a:lnTo>
                    <a:pt x="0" y="139065"/>
                  </a:lnTo>
                  <a:lnTo>
                    <a:pt x="33338" y="139065"/>
                  </a:lnTo>
                  <a:lnTo>
                    <a:pt x="40957" y="118110"/>
                  </a:lnTo>
                  <a:lnTo>
                    <a:pt x="102870" y="118110"/>
                  </a:lnTo>
                  <a:lnTo>
                    <a:pt x="110490" y="139065"/>
                  </a:lnTo>
                  <a:lnTo>
                    <a:pt x="143827" y="139065"/>
                  </a:lnTo>
                  <a:lnTo>
                    <a:pt x="94298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1133326-7E49-44BB-89F0-2F13A52F1966}"/>
                </a:ext>
              </a:extLst>
            </p:cNvPr>
            <p:cNvSpPr/>
            <p:nvPr/>
          </p:nvSpPr>
          <p:spPr bwMode="gray">
            <a:xfrm>
              <a:off x="4408169" y="2407919"/>
              <a:ext cx="126682" cy="139064"/>
            </a:xfrm>
            <a:custGeom>
              <a:avLst/>
              <a:gdLst>
                <a:gd name="connsiteX0" fmla="*/ 95250 w 126682"/>
                <a:gd name="connsiteY0" fmla="*/ 54293 h 139064"/>
                <a:gd name="connsiteX1" fmla="*/ 31432 w 126682"/>
                <a:gd name="connsiteY1" fmla="*/ 54293 h 139064"/>
                <a:gd name="connsiteX2" fmla="*/ 31432 w 126682"/>
                <a:gd name="connsiteY2" fmla="*/ 0 h 139064"/>
                <a:gd name="connsiteX3" fmla="*/ 0 w 126682"/>
                <a:gd name="connsiteY3" fmla="*/ 0 h 139064"/>
                <a:gd name="connsiteX4" fmla="*/ 0 w 126682"/>
                <a:gd name="connsiteY4" fmla="*/ 139065 h 139064"/>
                <a:gd name="connsiteX5" fmla="*/ 31432 w 126682"/>
                <a:gd name="connsiteY5" fmla="*/ 139065 h 139064"/>
                <a:gd name="connsiteX6" fmla="*/ 31432 w 126682"/>
                <a:gd name="connsiteY6" fmla="*/ 85725 h 139064"/>
                <a:gd name="connsiteX7" fmla="*/ 95250 w 126682"/>
                <a:gd name="connsiteY7" fmla="*/ 85725 h 139064"/>
                <a:gd name="connsiteX8" fmla="*/ 95250 w 126682"/>
                <a:gd name="connsiteY8" fmla="*/ 139065 h 139064"/>
                <a:gd name="connsiteX9" fmla="*/ 126682 w 126682"/>
                <a:gd name="connsiteY9" fmla="*/ 139065 h 139064"/>
                <a:gd name="connsiteX10" fmla="*/ 126682 w 126682"/>
                <a:gd name="connsiteY10" fmla="*/ 0 h 139064"/>
                <a:gd name="connsiteX11" fmla="*/ 95250 w 126682"/>
                <a:gd name="connsiteY11" fmla="*/ 0 h 139064"/>
                <a:gd name="connsiteX12" fmla="*/ 95250 w 126682"/>
                <a:gd name="connsiteY12" fmla="*/ 5429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682" h="139064">
                  <a:moveTo>
                    <a:pt x="95250" y="54293"/>
                  </a:moveTo>
                  <a:lnTo>
                    <a:pt x="31432" y="54293"/>
                  </a:lnTo>
                  <a:lnTo>
                    <a:pt x="31432" y="0"/>
                  </a:ln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85725"/>
                  </a:lnTo>
                  <a:lnTo>
                    <a:pt x="95250" y="85725"/>
                  </a:lnTo>
                  <a:lnTo>
                    <a:pt x="95250" y="139065"/>
                  </a:lnTo>
                  <a:lnTo>
                    <a:pt x="126682" y="139065"/>
                  </a:lnTo>
                  <a:lnTo>
                    <a:pt x="126682" y="0"/>
                  </a:lnTo>
                  <a:lnTo>
                    <a:pt x="95250" y="0"/>
                  </a:lnTo>
                  <a:lnTo>
                    <a:pt x="95250" y="5429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26B248B8-6687-48DF-A6FF-0AD17A2F88D0}"/>
                </a:ext>
              </a:extLst>
            </p:cNvPr>
            <p:cNvSpPr/>
            <p:nvPr/>
          </p:nvSpPr>
          <p:spPr bwMode="gray">
            <a:xfrm>
              <a:off x="5043487" y="2407919"/>
              <a:ext cx="96202" cy="139064"/>
            </a:xfrm>
            <a:custGeom>
              <a:avLst/>
              <a:gdLst>
                <a:gd name="connsiteX0" fmla="*/ 55245 w 96202"/>
                <a:gd name="connsiteY0" fmla="*/ 0 h 139064"/>
                <a:gd name="connsiteX1" fmla="*/ 0 w 96202"/>
                <a:gd name="connsiteY1" fmla="*/ 69533 h 139064"/>
                <a:gd name="connsiteX2" fmla="*/ 55245 w 96202"/>
                <a:gd name="connsiteY2" fmla="*/ 139065 h 139064"/>
                <a:gd name="connsiteX3" fmla="*/ 96202 w 96202"/>
                <a:gd name="connsiteY3" fmla="*/ 139065 h 139064"/>
                <a:gd name="connsiteX4" fmla="*/ 40958 w 96202"/>
                <a:gd name="connsiteY4" fmla="*/ 69533 h 139064"/>
                <a:gd name="connsiteX5" fmla="*/ 96202 w 96202"/>
                <a:gd name="connsiteY5" fmla="*/ 0 h 139064"/>
                <a:gd name="connsiteX6" fmla="*/ 55245 w 96202"/>
                <a:gd name="connsiteY6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202" h="139064">
                  <a:moveTo>
                    <a:pt x="55245" y="0"/>
                  </a:moveTo>
                  <a:lnTo>
                    <a:pt x="0" y="69533"/>
                  </a:lnTo>
                  <a:lnTo>
                    <a:pt x="55245" y="139065"/>
                  </a:lnTo>
                  <a:lnTo>
                    <a:pt x="96202" y="139065"/>
                  </a:lnTo>
                  <a:lnTo>
                    <a:pt x="40958" y="69533"/>
                  </a:lnTo>
                  <a:lnTo>
                    <a:pt x="96202" y="0"/>
                  </a:lnTo>
                  <a:lnTo>
                    <a:pt x="55245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C960416-5F62-43FA-9221-9C5B77E9F2A9}"/>
                </a:ext>
              </a:extLst>
            </p:cNvPr>
            <p:cNvSpPr/>
            <p:nvPr/>
          </p:nvSpPr>
          <p:spPr bwMode="gray">
            <a:xfrm>
              <a:off x="5007292" y="2407919"/>
              <a:ext cx="31432" cy="139065"/>
            </a:xfrm>
            <a:custGeom>
              <a:avLst/>
              <a:gdLst>
                <a:gd name="connsiteX0" fmla="*/ 0 w 31432"/>
                <a:gd name="connsiteY0" fmla="*/ 0 h 139065"/>
                <a:gd name="connsiteX1" fmla="*/ 31433 w 31432"/>
                <a:gd name="connsiteY1" fmla="*/ 0 h 139065"/>
                <a:gd name="connsiteX2" fmla="*/ 31433 w 31432"/>
                <a:gd name="connsiteY2" fmla="*/ 139065 h 139065"/>
                <a:gd name="connsiteX3" fmla="*/ 0 w 31432"/>
                <a:gd name="connsiteY3" fmla="*/ 139065 h 13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" h="139065">
                  <a:moveTo>
                    <a:pt x="0" y="0"/>
                  </a:moveTo>
                  <a:lnTo>
                    <a:pt x="31433" y="0"/>
                  </a:lnTo>
                  <a:lnTo>
                    <a:pt x="31433" y="139065"/>
                  </a:lnTo>
                  <a:lnTo>
                    <a:pt x="0" y="13906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77A166D7-21C9-4003-89D6-04A92485A45D}"/>
                </a:ext>
              </a:extLst>
            </p:cNvPr>
            <p:cNvSpPr/>
            <p:nvPr/>
          </p:nvSpPr>
          <p:spPr bwMode="gray">
            <a:xfrm>
              <a:off x="4565331" y="2407919"/>
              <a:ext cx="126682" cy="139064"/>
            </a:xfrm>
            <a:custGeom>
              <a:avLst/>
              <a:gdLst>
                <a:gd name="connsiteX0" fmla="*/ 31432 w 126682"/>
                <a:gd name="connsiteY0" fmla="*/ 31433 h 139064"/>
                <a:gd name="connsiteX1" fmla="*/ 77153 w 126682"/>
                <a:gd name="connsiteY1" fmla="*/ 31433 h 139064"/>
                <a:gd name="connsiteX2" fmla="*/ 92393 w 126682"/>
                <a:gd name="connsiteY2" fmla="*/ 46673 h 139064"/>
                <a:gd name="connsiteX3" fmla="*/ 77153 w 126682"/>
                <a:gd name="connsiteY3" fmla="*/ 61913 h 139064"/>
                <a:gd name="connsiteX4" fmla="*/ 31432 w 126682"/>
                <a:gd name="connsiteY4" fmla="*/ 61913 h 139064"/>
                <a:gd name="connsiteX5" fmla="*/ 123825 w 126682"/>
                <a:gd name="connsiteY5" fmla="*/ 46673 h 139064"/>
                <a:gd name="connsiteX6" fmla="*/ 77153 w 126682"/>
                <a:gd name="connsiteY6" fmla="*/ 0 h 139064"/>
                <a:gd name="connsiteX7" fmla="*/ 0 w 126682"/>
                <a:gd name="connsiteY7" fmla="*/ 0 h 139064"/>
                <a:gd name="connsiteX8" fmla="*/ 0 w 126682"/>
                <a:gd name="connsiteY8" fmla="*/ 139065 h 139064"/>
                <a:gd name="connsiteX9" fmla="*/ 31432 w 126682"/>
                <a:gd name="connsiteY9" fmla="*/ 139065 h 139064"/>
                <a:gd name="connsiteX10" fmla="*/ 31432 w 126682"/>
                <a:gd name="connsiteY10" fmla="*/ 92393 h 139064"/>
                <a:gd name="connsiteX11" fmla="*/ 57150 w 126682"/>
                <a:gd name="connsiteY11" fmla="*/ 92393 h 139064"/>
                <a:gd name="connsiteX12" fmla="*/ 88582 w 126682"/>
                <a:gd name="connsiteY12" fmla="*/ 139065 h 139064"/>
                <a:gd name="connsiteX13" fmla="*/ 126682 w 126682"/>
                <a:gd name="connsiteY13" fmla="*/ 139065 h 139064"/>
                <a:gd name="connsiteX14" fmla="*/ 93345 w 126682"/>
                <a:gd name="connsiteY14" fmla="*/ 89535 h 139064"/>
                <a:gd name="connsiteX15" fmla="*/ 123825 w 126682"/>
                <a:gd name="connsiteY15" fmla="*/ 4667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682" h="139064">
                  <a:moveTo>
                    <a:pt x="31432" y="31433"/>
                  </a:moveTo>
                  <a:lnTo>
                    <a:pt x="77153" y="31433"/>
                  </a:lnTo>
                  <a:cubicBezTo>
                    <a:pt x="85569" y="31433"/>
                    <a:pt x="92393" y="38256"/>
                    <a:pt x="92393" y="46673"/>
                  </a:cubicBezTo>
                  <a:cubicBezTo>
                    <a:pt x="92393" y="55089"/>
                    <a:pt x="85569" y="61913"/>
                    <a:pt x="77153" y="61913"/>
                  </a:cubicBezTo>
                  <a:lnTo>
                    <a:pt x="31432" y="61913"/>
                  </a:lnTo>
                  <a:close/>
                  <a:moveTo>
                    <a:pt x="123825" y="46673"/>
                  </a:moveTo>
                  <a:cubicBezTo>
                    <a:pt x="123773" y="20918"/>
                    <a:pt x="102907" y="52"/>
                    <a:pt x="77153" y="0"/>
                  </a:cubicBez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92393"/>
                  </a:lnTo>
                  <a:lnTo>
                    <a:pt x="57150" y="92393"/>
                  </a:lnTo>
                  <a:lnTo>
                    <a:pt x="88582" y="139065"/>
                  </a:lnTo>
                  <a:lnTo>
                    <a:pt x="126682" y="139065"/>
                  </a:lnTo>
                  <a:lnTo>
                    <a:pt x="93345" y="89535"/>
                  </a:lnTo>
                  <a:cubicBezTo>
                    <a:pt x="111440" y="82990"/>
                    <a:pt x="123584" y="65914"/>
                    <a:pt x="123825" y="4667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BE5DE12-15F7-4976-9B6E-DF8D62F3CD09}"/>
                </a:ext>
              </a:extLst>
            </p:cNvPr>
            <p:cNvSpPr/>
            <p:nvPr/>
          </p:nvSpPr>
          <p:spPr bwMode="gray">
            <a:xfrm>
              <a:off x="4248149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1816 w 141922"/>
                <a:gd name="connsiteY10" fmla="*/ 31433 h 144780"/>
                <a:gd name="connsiteX11" fmla="*/ 72390 w 141922"/>
                <a:gd name="connsiteY11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274" y="49928"/>
                    <a:pt x="49355" y="31591"/>
                    <a:pt x="71816" y="31433"/>
                  </a:cubicBezTo>
                  <a:cubicBezTo>
                    <a:pt x="72008" y="31431"/>
                    <a:pt x="72199" y="31431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17221A9E-7E1D-4C35-ABFB-90E55463B271}"/>
                </a:ext>
              </a:extLst>
            </p:cNvPr>
            <p:cNvSpPr/>
            <p:nvPr/>
          </p:nvSpPr>
          <p:spPr bwMode="gray">
            <a:xfrm>
              <a:off x="4847272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936" y="49982"/>
                    <a:pt x="49982" y="31936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3AA540E6-CE50-4A26-9E1C-843F50444585}"/>
                </a:ext>
              </a:extLst>
            </p:cNvPr>
            <p:cNvSpPr/>
            <p:nvPr/>
          </p:nvSpPr>
          <p:spPr bwMode="gray">
            <a:xfrm>
              <a:off x="4005262" y="2592704"/>
              <a:ext cx="153352" cy="140017"/>
            </a:xfrm>
            <a:custGeom>
              <a:avLst/>
              <a:gdLst>
                <a:gd name="connsiteX0" fmla="*/ 58103 w 153352"/>
                <a:gd name="connsiteY0" fmla="*/ 54292 h 140017"/>
                <a:gd name="connsiteX1" fmla="*/ 46673 w 153352"/>
                <a:gd name="connsiteY1" fmla="*/ 42862 h 140017"/>
                <a:gd name="connsiteX2" fmla="*/ 58103 w 153352"/>
                <a:gd name="connsiteY2" fmla="*/ 31432 h 140017"/>
                <a:gd name="connsiteX3" fmla="*/ 138113 w 153352"/>
                <a:gd name="connsiteY3" fmla="*/ 31432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3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3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3 w 153352"/>
                <a:gd name="connsiteY14" fmla="*/ 140018 h 140017"/>
                <a:gd name="connsiteX15" fmla="*/ 139065 w 153352"/>
                <a:gd name="connsiteY15" fmla="*/ 97155 h 140017"/>
                <a:gd name="connsiteX16" fmla="*/ 96203 w 153352"/>
                <a:gd name="connsiteY16" fmla="*/ 5429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2"/>
                  </a:moveTo>
                  <a:cubicBezTo>
                    <a:pt x="51790" y="54292"/>
                    <a:pt x="46673" y="49175"/>
                    <a:pt x="46673" y="42862"/>
                  </a:cubicBezTo>
                  <a:cubicBezTo>
                    <a:pt x="46673" y="36550"/>
                    <a:pt x="51790" y="31432"/>
                    <a:pt x="58103" y="31432"/>
                  </a:cubicBezTo>
                  <a:lnTo>
                    <a:pt x="138113" y="31432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3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3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3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3"/>
                    <a:pt x="96203" y="54293"/>
                  </a:cubicBez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4A5D510E-8201-4236-9600-665D7B0DA478}"/>
                </a:ext>
              </a:extLst>
            </p:cNvPr>
            <p:cNvSpPr/>
            <p:nvPr/>
          </p:nvSpPr>
          <p:spPr bwMode="gray">
            <a:xfrm>
              <a:off x="4914899" y="2592704"/>
              <a:ext cx="124777" cy="140017"/>
            </a:xfrm>
            <a:custGeom>
              <a:avLst/>
              <a:gdLst>
                <a:gd name="connsiteX0" fmla="*/ 0 w 124777"/>
                <a:gd name="connsiteY0" fmla="*/ 0 h 140017"/>
                <a:gd name="connsiteX1" fmla="*/ 0 w 124777"/>
                <a:gd name="connsiteY1" fmla="*/ 32385 h 140017"/>
                <a:gd name="connsiteX2" fmla="*/ 46673 w 124777"/>
                <a:gd name="connsiteY2" fmla="*/ 32385 h 140017"/>
                <a:gd name="connsiteX3" fmla="*/ 46673 w 124777"/>
                <a:gd name="connsiteY3" fmla="*/ 140018 h 140017"/>
                <a:gd name="connsiteX4" fmla="*/ 78105 w 124777"/>
                <a:gd name="connsiteY4" fmla="*/ 140018 h 140017"/>
                <a:gd name="connsiteX5" fmla="*/ 78105 w 124777"/>
                <a:gd name="connsiteY5" fmla="*/ 32385 h 140017"/>
                <a:gd name="connsiteX6" fmla="*/ 124777 w 124777"/>
                <a:gd name="connsiteY6" fmla="*/ 32385 h 140017"/>
                <a:gd name="connsiteX7" fmla="*/ 124777 w 124777"/>
                <a:gd name="connsiteY7" fmla="*/ 0 h 140017"/>
                <a:gd name="connsiteX8" fmla="*/ 0 w 124777"/>
                <a:gd name="connsiteY8" fmla="*/ 0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777" h="140017">
                  <a:moveTo>
                    <a:pt x="0" y="0"/>
                  </a:moveTo>
                  <a:lnTo>
                    <a:pt x="0" y="32385"/>
                  </a:lnTo>
                  <a:lnTo>
                    <a:pt x="46673" y="32385"/>
                  </a:lnTo>
                  <a:lnTo>
                    <a:pt x="46673" y="140018"/>
                  </a:lnTo>
                  <a:lnTo>
                    <a:pt x="78105" y="140018"/>
                  </a:lnTo>
                  <a:lnTo>
                    <a:pt x="78105" y="32385"/>
                  </a:lnTo>
                  <a:lnTo>
                    <a:pt x="124777" y="32385"/>
                  </a:lnTo>
                  <a:lnTo>
                    <a:pt x="1247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391A029C-66EA-4C07-806C-4C956A3FC112}"/>
                </a:ext>
              </a:extLst>
            </p:cNvPr>
            <p:cNvSpPr/>
            <p:nvPr/>
          </p:nvSpPr>
          <p:spPr bwMode="gray">
            <a:xfrm>
              <a:off x="4179569" y="2592704"/>
              <a:ext cx="110490" cy="140017"/>
            </a:xfrm>
            <a:custGeom>
              <a:avLst/>
              <a:gdLst>
                <a:gd name="connsiteX0" fmla="*/ 0 w 110490"/>
                <a:gd name="connsiteY0" fmla="*/ 140018 h 140017"/>
                <a:gd name="connsiteX1" fmla="*/ 110490 w 110490"/>
                <a:gd name="connsiteY1" fmla="*/ 140018 h 140017"/>
                <a:gd name="connsiteX2" fmla="*/ 110490 w 110490"/>
                <a:gd name="connsiteY2" fmla="*/ 107632 h 140017"/>
                <a:gd name="connsiteX3" fmla="*/ 32385 w 110490"/>
                <a:gd name="connsiteY3" fmla="*/ 107632 h 140017"/>
                <a:gd name="connsiteX4" fmla="*/ 32385 w 110490"/>
                <a:gd name="connsiteY4" fmla="*/ 84773 h 140017"/>
                <a:gd name="connsiteX5" fmla="*/ 102870 w 110490"/>
                <a:gd name="connsiteY5" fmla="*/ 84773 h 140017"/>
                <a:gd name="connsiteX6" fmla="*/ 102870 w 110490"/>
                <a:gd name="connsiteY6" fmla="*/ 55245 h 140017"/>
                <a:gd name="connsiteX7" fmla="*/ 32385 w 110490"/>
                <a:gd name="connsiteY7" fmla="*/ 55245 h 140017"/>
                <a:gd name="connsiteX8" fmla="*/ 32385 w 110490"/>
                <a:gd name="connsiteY8" fmla="*/ 32385 h 140017"/>
                <a:gd name="connsiteX9" fmla="*/ 110490 w 110490"/>
                <a:gd name="connsiteY9" fmla="*/ 32385 h 140017"/>
                <a:gd name="connsiteX10" fmla="*/ 110490 w 110490"/>
                <a:gd name="connsiteY10" fmla="*/ 0 h 140017"/>
                <a:gd name="connsiteX11" fmla="*/ 0 w 110490"/>
                <a:gd name="connsiteY11" fmla="*/ 0 h 140017"/>
                <a:gd name="connsiteX12" fmla="*/ 0 w 110490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90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5156E4A5-30B2-424A-8B4C-019FE45CF636}"/>
                </a:ext>
              </a:extLst>
            </p:cNvPr>
            <p:cNvSpPr/>
            <p:nvPr/>
          </p:nvSpPr>
          <p:spPr bwMode="gray">
            <a:xfrm>
              <a:off x="4787264" y="2592704"/>
              <a:ext cx="110489" cy="140017"/>
            </a:xfrm>
            <a:custGeom>
              <a:avLst/>
              <a:gdLst>
                <a:gd name="connsiteX0" fmla="*/ 0 w 110489"/>
                <a:gd name="connsiteY0" fmla="*/ 140018 h 140017"/>
                <a:gd name="connsiteX1" fmla="*/ 110490 w 110489"/>
                <a:gd name="connsiteY1" fmla="*/ 140018 h 140017"/>
                <a:gd name="connsiteX2" fmla="*/ 110490 w 110489"/>
                <a:gd name="connsiteY2" fmla="*/ 107632 h 140017"/>
                <a:gd name="connsiteX3" fmla="*/ 32385 w 110489"/>
                <a:gd name="connsiteY3" fmla="*/ 107632 h 140017"/>
                <a:gd name="connsiteX4" fmla="*/ 32385 w 110489"/>
                <a:gd name="connsiteY4" fmla="*/ 84773 h 140017"/>
                <a:gd name="connsiteX5" fmla="*/ 102870 w 110489"/>
                <a:gd name="connsiteY5" fmla="*/ 84773 h 140017"/>
                <a:gd name="connsiteX6" fmla="*/ 102870 w 110489"/>
                <a:gd name="connsiteY6" fmla="*/ 55245 h 140017"/>
                <a:gd name="connsiteX7" fmla="*/ 32385 w 110489"/>
                <a:gd name="connsiteY7" fmla="*/ 55245 h 140017"/>
                <a:gd name="connsiteX8" fmla="*/ 32385 w 110489"/>
                <a:gd name="connsiteY8" fmla="*/ 32385 h 140017"/>
                <a:gd name="connsiteX9" fmla="*/ 110490 w 110489"/>
                <a:gd name="connsiteY9" fmla="*/ 32385 h 140017"/>
                <a:gd name="connsiteX10" fmla="*/ 110490 w 110489"/>
                <a:gd name="connsiteY10" fmla="*/ 0 h 140017"/>
                <a:gd name="connsiteX11" fmla="*/ 0 w 110489"/>
                <a:gd name="connsiteY11" fmla="*/ 0 h 140017"/>
                <a:gd name="connsiteX12" fmla="*/ 0 w 110489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89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86DD4BAC-A4F7-4A31-89AF-22A90B667035}"/>
                </a:ext>
              </a:extLst>
            </p:cNvPr>
            <p:cNvSpPr/>
            <p:nvPr/>
          </p:nvSpPr>
          <p:spPr bwMode="gray">
            <a:xfrm>
              <a:off x="4309109" y="2590799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3862 w 141922"/>
                <a:gd name="connsiteY8" fmla="*/ 108633 h 144780"/>
                <a:gd name="connsiteX9" fmla="*/ 35716 w 141922"/>
                <a:gd name="connsiteY9" fmla="*/ 5391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484" y="110610"/>
                    <a:pt x="73984" y="118734"/>
                    <a:pt x="53862" y="108633"/>
                  </a:cubicBezTo>
                  <a:cubicBezTo>
                    <a:pt x="33740" y="98533"/>
                    <a:pt x="25615" y="74032"/>
                    <a:pt x="35716" y="53910"/>
                  </a:cubicBezTo>
                  <a:cubicBezTo>
                    <a:pt x="42672" y="40053"/>
                    <a:pt x="56886" y="31342"/>
                    <a:pt x="72390" y="31433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AE45E833-1BD4-4366-93C3-8E678704F5B6}"/>
                </a:ext>
              </a:extLst>
            </p:cNvPr>
            <p:cNvSpPr/>
            <p:nvPr/>
          </p:nvSpPr>
          <p:spPr bwMode="gray">
            <a:xfrm>
              <a:off x="4467224" y="2590799"/>
              <a:ext cx="144779" cy="144780"/>
            </a:xfrm>
            <a:custGeom>
              <a:avLst/>
              <a:gdLst>
                <a:gd name="connsiteX0" fmla="*/ 72390 w 144779"/>
                <a:gd name="connsiteY0" fmla="*/ 0 h 144780"/>
                <a:gd name="connsiteX1" fmla="*/ 0 w 144779"/>
                <a:gd name="connsiteY1" fmla="*/ 72390 h 144780"/>
                <a:gd name="connsiteX2" fmla="*/ 72390 w 144779"/>
                <a:gd name="connsiteY2" fmla="*/ 144780 h 144780"/>
                <a:gd name="connsiteX3" fmla="*/ 144780 w 144779"/>
                <a:gd name="connsiteY3" fmla="*/ 72390 h 144780"/>
                <a:gd name="connsiteX4" fmla="*/ 72390 w 144779"/>
                <a:gd name="connsiteY4" fmla="*/ 0 h 144780"/>
                <a:gd name="connsiteX5" fmla="*/ 72390 w 144779"/>
                <a:gd name="connsiteY5" fmla="*/ 112395 h 144780"/>
                <a:gd name="connsiteX6" fmla="*/ 31432 w 144779"/>
                <a:gd name="connsiteY6" fmla="*/ 71438 h 144780"/>
                <a:gd name="connsiteX7" fmla="*/ 72390 w 144779"/>
                <a:gd name="connsiteY7" fmla="*/ 30480 h 144780"/>
                <a:gd name="connsiteX8" fmla="*/ 113347 w 144779"/>
                <a:gd name="connsiteY8" fmla="*/ 71438 h 144780"/>
                <a:gd name="connsiteX9" fmla="*/ 72964 w 144779"/>
                <a:gd name="connsiteY9" fmla="*/ 112395 h 144780"/>
                <a:gd name="connsiteX10" fmla="*/ 72390 w 144779"/>
                <a:gd name="connsiteY10" fmla="*/ 112395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779" h="144780">
                  <a:moveTo>
                    <a:pt x="72390" y="0"/>
                  </a:move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12370" y="144780"/>
                    <a:pt x="144780" y="112370"/>
                    <a:pt x="144780" y="72390"/>
                  </a:cubicBezTo>
                  <a:cubicBezTo>
                    <a:pt x="144780" y="32410"/>
                    <a:pt x="112370" y="0"/>
                    <a:pt x="72390" y="0"/>
                  </a:cubicBezTo>
                  <a:moveTo>
                    <a:pt x="72390" y="112395"/>
                  </a:moveTo>
                  <a:cubicBezTo>
                    <a:pt x="49770" y="112395"/>
                    <a:pt x="31432" y="94058"/>
                    <a:pt x="31432" y="71438"/>
                  </a:cubicBezTo>
                  <a:cubicBezTo>
                    <a:pt x="31432" y="48817"/>
                    <a:pt x="49770" y="30480"/>
                    <a:pt x="72390" y="30480"/>
                  </a:cubicBezTo>
                  <a:cubicBezTo>
                    <a:pt x="95010" y="30480"/>
                    <a:pt x="113347" y="48817"/>
                    <a:pt x="113347" y="71438"/>
                  </a:cubicBezTo>
                  <a:cubicBezTo>
                    <a:pt x="113506" y="93899"/>
                    <a:pt x="95425" y="112237"/>
                    <a:pt x="72964" y="112395"/>
                  </a:cubicBezTo>
                  <a:cubicBezTo>
                    <a:pt x="72772" y="112396"/>
                    <a:pt x="72581" y="112396"/>
                    <a:pt x="72390" y="112395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24962484-DB7A-47B1-A22B-6107581833B5}"/>
                </a:ext>
              </a:extLst>
            </p:cNvPr>
            <p:cNvSpPr/>
            <p:nvPr/>
          </p:nvSpPr>
          <p:spPr bwMode="gray">
            <a:xfrm>
              <a:off x="4631054" y="2592704"/>
              <a:ext cx="128587" cy="140017"/>
            </a:xfrm>
            <a:custGeom>
              <a:avLst/>
              <a:gdLst>
                <a:gd name="connsiteX0" fmla="*/ 97155 w 128587"/>
                <a:gd name="connsiteY0" fmla="*/ 84773 h 140017"/>
                <a:gd name="connsiteX1" fmla="*/ 97155 w 128587"/>
                <a:gd name="connsiteY1" fmla="*/ 84773 h 140017"/>
                <a:gd name="connsiteX2" fmla="*/ 97155 w 128587"/>
                <a:gd name="connsiteY2" fmla="*/ 84773 h 140017"/>
                <a:gd name="connsiteX3" fmla="*/ 27623 w 128587"/>
                <a:gd name="connsiteY3" fmla="*/ 0 h 140017"/>
                <a:gd name="connsiteX4" fmla="*/ 0 w 128587"/>
                <a:gd name="connsiteY4" fmla="*/ 0 h 140017"/>
                <a:gd name="connsiteX5" fmla="*/ 0 w 128587"/>
                <a:gd name="connsiteY5" fmla="*/ 140018 h 140017"/>
                <a:gd name="connsiteX6" fmla="*/ 31433 w 128587"/>
                <a:gd name="connsiteY6" fmla="*/ 140018 h 140017"/>
                <a:gd name="connsiteX7" fmla="*/ 31433 w 128587"/>
                <a:gd name="connsiteY7" fmla="*/ 55245 h 140017"/>
                <a:gd name="connsiteX8" fmla="*/ 100965 w 128587"/>
                <a:gd name="connsiteY8" fmla="*/ 140018 h 140017"/>
                <a:gd name="connsiteX9" fmla="*/ 100965 w 128587"/>
                <a:gd name="connsiteY9" fmla="*/ 140018 h 140017"/>
                <a:gd name="connsiteX10" fmla="*/ 128588 w 128587"/>
                <a:gd name="connsiteY10" fmla="*/ 140018 h 140017"/>
                <a:gd name="connsiteX11" fmla="*/ 128588 w 128587"/>
                <a:gd name="connsiteY11" fmla="*/ 0 h 140017"/>
                <a:gd name="connsiteX12" fmla="*/ 97155 w 128587"/>
                <a:gd name="connsiteY12" fmla="*/ 0 h 140017"/>
                <a:gd name="connsiteX13" fmla="*/ 97155 w 128587"/>
                <a:gd name="connsiteY13" fmla="*/ 8477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587" h="140017">
                  <a:moveTo>
                    <a:pt x="97155" y="84773"/>
                  </a:moveTo>
                  <a:lnTo>
                    <a:pt x="97155" y="84773"/>
                  </a:lnTo>
                  <a:lnTo>
                    <a:pt x="97155" y="84773"/>
                  </a:lnTo>
                  <a:lnTo>
                    <a:pt x="27623" y="0"/>
                  </a:lnTo>
                  <a:lnTo>
                    <a:pt x="0" y="0"/>
                  </a:lnTo>
                  <a:lnTo>
                    <a:pt x="0" y="140018"/>
                  </a:lnTo>
                  <a:lnTo>
                    <a:pt x="31433" y="140018"/>
                  </a:lnTo>
                  <a:lnTo>
                    <a:pt x="31433" y="55245"/>
                  </a:lnTo>
                  <a:lnTo>
                    <a:pt x="100965" y="140018"/>
                  </a:lnTo>
                  <a:lnTo>
                    <a:pt x="100965" y="140018"/>
                  </a:lnTo>
                  <a:lnTo>
                    <a:pt x="128588" y="140018"/>
                  </a:lnTo>
                  <a:lnTo>
                    <a:pt x="128588" y="0"/>
                  </a:lnTo>
                  <a:lnTo>
                    <a:pt x="97155" y="0"/>
                  </a:lnTo>
                  <a:lnTo>
                    <a:pt x="97155" y="84773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C360C66B-E3E6-481D-89A2-5EC953799DC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white">
          <a:xfrm>
            <a:off x="762171" y="6249044"/>
            <a:ext cx="132600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>
                <a:solidFill>
                  <a:schemeClr val="bg1"/>
                </a:solidFill>
              </a:rPr>
              <a:t>schrack-seconet.com</a:t>
            </a:r>
            <a:endParaRPr lang="en-GB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214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5DD2DE9B-BD5F-8E40-AFCE-E183C5331C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860627" y="4207912"/>
            <a:ext cx="3389111" cy="1757913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4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Titel</a:t>
            </a:r>
            <a:endParaRPr lang="en-GB" noProof="0" dirty="0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A70F5C10-8008-DC43-9B65-FE71885973B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860627" y="4534204"/>
            <a:ext cx="3389111" cy="223580"/>
          </a:xfrm>
          <a:prstGeom prst="rect">
            <a:avLst/>
          </a:prstGeom>
          <a:noFill/>
          <a:ln>
            <a:noFill/>
          </a:ln>
        </p:spPr>
        <p:txBody>
          <a:bodyPr lIns="72000" tIns="0" rIns="72000" bIns="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Untertitel</a:t>
            </a:r>
            <a:endParaRPr lang="en-GB" noProof="0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48FA969-D29F-8D47-B93A-01FD463CA7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ltGray">
          <a:xfrm>
            <a:off x="860627" y="4843444"/>
            <a:ext cx="3389111" cy="1122363"/>
          </a:xfrm>
          <a:prstGeom prst="rect">
            <a:avLst/>
          </a:prstGeom>
          <a:noFill/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Text</a:t>
            </a:r>
            <a:endParaRPr lang="en-GB" noProof="0" dirty="0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60627" y="2078512"/>
            <a:ext cx="3389111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398138" y="2078512"/>
            <a:ext cx="3399662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7" name="Bildplatzhalter 34">
            <a:extLst>
              <a:ext uri="{FF2B5EF4-FFF2-40B4-BE49-F238E27FC236}">
                <a16:creationId xmlns:a16="http://schemas.microsoft.com/office/drawing/2014/main" id="{F36A34E1-5618-CB48-ADC6-17A5BD0D924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940675" y="2078512"/>
            <a:ext cx="3399662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4" name="Textplatzhalter 18">
            <a:extLst>
              <a:ext uri="{FF2B5EF4-FFF2-40B4-BE49-F238E27FC236}">
                <a16:creationId xmlns:a16="http://schemas.microsoft.com/office/drawing/2014/main" id="{FAEC829A-729C-4846-9015-BB7091E245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ltGray">
          <a:xfrm>
            <a:off x="4398138" y="4207912"/>
            <a:ext cx="3399662" cy="1757913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4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Titel</a:t>
            </a:r>
            <a:endParaRPr lang="en-GB" noProof="0" dirty="0"/>
          </a:p>
        </p:txBody>
      </p:sp>
      <p:sp>
        <p:nvSpPr>
          <p:cNvPr id="39" name="Inhaltsplatzhalter 20">
            <a:extLst>
              <a:ext uri="{FF2B5EF4-FFF2-40B4-BE49-F238E27FC236}">
                <a16:creationId xmlns:a16="http://schemas.microsoft.com/office/drawing/2014/main" id="{5AD8DA37-A4A2-AD46-B4C9-FE6EFC30D77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 bwMode="ltGray">
          <a:xfrm>
            <a:off x="4398138" y="4534204"/>
            <a:ext cx="3399662" cy="223580"/>
          </a:xfrm>
          <a:prstGeom prst="rect">
            <a:avLst/>
          </a:prstGeom>
          <a:noFill/>
          <a:ln>
            <a:noFill/>
          </a:ln>
        </p:spPr>
        <p:txBody>
          <a:bodyPr lIns="72000" tIns="0" rIns="72000" bIns="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Untertitel</a:t>
            </a:r>
            <a:endParaRPr lang="en-GB" noProof="0" dirty="0"/>
          </a:p>
        </p:txBody>
      </p:sp>
      <p:sp>
        <p:nvSpPr>
          <p:cNvPr id="40" name="Textplatzhalter 22">
            <a:extLst>
              <a:ext uri="{FF2B5EF4-FFF2-40B4-BE49-F238E27FC236}">
                <a16:creationId xmlns:a16="http://schemas.microsoft.com/office/drawing/2014/main" id="{5DFCC2E1-560F-0547-9BD8-0A4BC667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ltGray">
          <a:xfrm>
            <a:off x="4398138" y="4843444"/>
            <a:ext cx="3399662" cy="1122363"/>
          </a:xfrm>
          <a:prstGeom prst="rect">
            <a:avLst/>
          </a:prstGeom>
          <a:noFill/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Text</a:t>
            </a:r>
            <a:endParaRPr lang="en-GB" noProof="0" dirty="0"/>
          </a:p>
        </p:txBody>
      </p:sp>
      <p:sp>
        <p:nvSpPr>
          <p:cNvPr id="41" name="Textplatzhalter 18">
            <a:extLst>
              <a:ext uri="{FF2B5EF4-FFF2-40B4-BE49-F238E27FC236}">
                <a16:creationId xmlns:a16="http://schemas.microsoft.com/office/drawing/2014/main" id="{52E1B4DE-C1B1-6748-B974-422702BA6E0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ltGray">
          <a:xfrm>
            <a:off x="7940675" y="4202031"/>
            <a:ext cx="3399662" cy="1757913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4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Titel</a:t>
            </a:r>
            <a:endParaRPr lang="en-GB" noProof="0" dirty="0"/>
          </a:p>
        </p:txBody>
      </p:sp>
      <p:sp>
        <p:nvSpPr>
          <p:cNvPr id="42" name="Inhaltsplatzhalter 20">
            <a:extLst>
              <a:ext uri="{FF2B5EF4-FFF2-40B4-BE49-F238E27FC236}">
                <a16:creationId xmlns:a16="http://schemas.microsoft.com/office/drawing/2014/main" id="{4316A382-DF52-5947-85BE-5923F24F1B0F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 bwMode="ltGray">
          <a:xfrm>
            <a:off x="7940675" y="4528324"/>
            <a:ext cx="3399662" cy="223580"/>
          </a:xfrm>
          <a:prstGeom prst="rect">
            <a:avLst/>
          </a:prstGeom>
          <a:noFill/>
          <a:ln>
            <a:noFill/>
          </a:ln>
        </p:spPr>
        <p:txBody>
          <a:bodyPr lIns="72000" tIns="0" rIns="72000" bIns="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Untertitel</a:t>
            </a:r>
            <a:endParaRPr lang="en-GB" noProof="0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DA306E15-0ADA-7C48-9C62-37437004412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ltGray">
          <a:xfrm>
            <a:off x="7940675" y="4837563"/>
            <a:ext cx="3399662" cy="1122363"/>
          </a:xfrm>
          <a:prstGeom prst="rect">
            <a:avLst/>
          </a:prstGeom>
          <a:noFill/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Text</a:t>
            </a:r>
            <a:endParaRPr lang="en-GB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Mastertitelformat bearbeiten</a:t>
            </a:r>
            <a:endParaRPr lang="en-GB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en-GB"/>
              <a:t>© SCHRACK SECONET AG – I. Lörincz – B-PPT-PA/VA Sales – V 2.0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Bildplatzhalter 31">
            <a:extLst>
              <a:ext uri="{FF2B5EF4-FFF2-40B4-BE49-F238E27FC236}">
                <a16:creationId xmlns:a16="http://schemas.microsoft.com/office/drawing/2014/main" id="{9AC5FAFA-B8A6-46ED-A5F3-C7CA1A26EFF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GB"/>
              <a:t>Bereichs-Kennzeichnu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8445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127" y="895739"/>
            <a:ext cx="10758196" cy="594159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09419" y="1663700"/>
            <a:ext cx="10776566" cy="48672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4" name="Fußzeilenplatzhalter 4"/>
          <p:cNvSpPr>
            <a:spLocks noGrp="1"/>
          </p:cNvSpPr>
          <p:nvPr userDrawn="1">
            <p:ph type="ftr" sz="quarter" idx="10"/>
          </p:nvPr>
        </p:nvSpPr>
        <p:spPr>
          <a:xfrm rot="16200000">
            <a:off x="9822631" y="4122713"/>
            <a:ext cx="3999396" cy="3450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/>
              <a:t>© SCHRACK SECONET AG • Wolfsbauer • Sales_Meeting_2017_Program • Versions1 • 30.01.2017</a:t>
            </a:r>
            <a:endParaRPr lang="de-AT" dirty="0"/>
          </a:p>
        </p:txBody>
      </p:sp>
      <p:sp>
        <p:nvSpPr>
          <p:cNvPr id="5" name="Foliennummernplatzhalter 5"/>
          <p:cNvSpPr>
            <a:spLocks noGrp="1"/>
          </p:cNvSpPr>
          <p:nvPr userDrawn="1">
            <p:ph type="sldNum" sz="quarter" idx="11"/>
          </p:nvPr>
        </p:nvSpPr>
        <p:spPr>
          <a:xfrm>
            <a:off x="11645875" y="6421703"/>
            <a:ext cx="35290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0074DD-0DE3-4679-80A9-AE3C32938CF4}" type="slidenum">
              <a:rPr lang="de-AT"/>
              <a:pPr>
                <a:defRPr/>
              </a:pPr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51646270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eilenstein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63FEDB-56EC-714A-A04F-5AA705F525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57445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873F1436-3B91-8540-A651-3A6262E2CE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69001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5E3DF55-D0B0-954F-A4AD-A044881E62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13671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AC53F2E-8872-794B-8AD3-C9F6DC4FEB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58925" y="1710000"/>
            <a:ext cx="811586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949446A-16BF-D742-9F89-F422A7AEC0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74913" y="1683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CD106B8C-DB3E-3A40-848C-31DBD53D03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19154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9B90B10-453E-E24C-90A1-A7631C4325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04248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EC6A5A6-0CF1-564B-B914-54B84689FE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76521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72B28BA-DEB0-0843-B276-A92DB9C421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30110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B9B5F4CC-F702-1F46-A303-7D23388B616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557445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19" name="Inhaltsplatzhalter 17">
            <a:extLst>
              <a:ext uri="{FF2B5EF4-FFF2-40B4-BE49-F238E27FC236}">
                <a16:creationId xmlns:a16="http://schemas.microsoft.com/office/drawing/2014/main" id="{95BB592A-1CB2-F642-9F82-492E8EF467C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69025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20" name="Inhaltsplatzhalter 17">
            <a:extLst>
              <a:ext uri="{FF2B5EF4-FFF2-40B4-BE49-F238E27FC236}">
                <a16:creationId xmlns:a16="http://schemas.microsoft.com/office/drawing/2014/main" id="{DD3E379B-C876-9D4A-BBC4-8EFA1A1EDFC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613671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21" name="Inhaltsplatzhalter 17">
            <a:extLst>
              <a:ext uri="{FF2B5EF4-FFF2-40B4-BE49-F238E27FC236}">
                <a16:creationId xmlns:a16="http://schemas.microsoft.com/office/drawing/2014/main" id="{801A5A63-5D79-C642-9860-5F0153C225A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658317" y="1450801"/>
            <a:ext cx="811586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22" name="Inhaltsplatzhalter 17">
            <a:extLst>
              <a:ext uri="{FF2B5EF4-FFF2-40B4-BE49-F238E27FC236}">
                <a16:creationId xmlns:a16="http://schemas.microsoft.com/office/drawing/2014/main" id="{8F9DE729-C790-D743-832E-284D55003A5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630386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23" name="Inhaltsplatzhalter 17">
            <a:extLst>
              <a:ext uri="{FF2B5EF4-FFF2-40B4-BE49-F238E27FC236}">
                <a16:creationId xmlns:a16="http://schemas.microsoft.com/office/drawing/2014/main" id="{2A7B4E93-E0E9-E347-A3CA-05ADFE465C2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576461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24" name="Inhaltsplatzhalter 17">
            <a:extLst>
              <a:ext uri="{FF2B5EF4-FFF2-40B4-BE49-F238E27FC236}">
                <a16:creationId xmlns:a16="http://schemas.microsoft.com/office/drawing/2014/main" id="{AE0CB9F8-F003-B04B-A170-ECB1AE96E6A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503413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25" name="Inhaltsplatzhalter 17">
            <a:extLst>
              <a:ext uri="{FF2B5EF4-FFF2-40B4-BE49-F238E27FC236}">
                <a16:creationId xmlns:a16="http://schemas.microsoft.com/office/drawing/2014/main" id="{2691CE29-EBC3-3E4F-98C8-6637AD042E4B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19070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26" name="Inhaltsplatzhalter 17">
            <a:extLst>
              <a:ext uri="{FF2B5EF4-FFF2-40B4-BE49-F238E27FC236}">
                <a16:creationId xmlns:a16="http://schemas.microsoft.com/office/drawing/2014/main" id="{4DAE49F9-5745-4045-A8C2-3F09E0CC4ACB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2475686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3B6F43D-1284-4F32-A229-F302C36676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4683E994-A516-4BF9-B4D1-5E313B28520B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© Schrack Seconet AG | Company Presentation | 01.2024</a:t>
            </a:r>
            <a:endParaRPr lang="de-DE" dirty="0"/>
          </a:p>
        </p:txBody>
      </p:sp>
      <p:sp>
        <p:nvSpPr>
          <p:cNvPr id="32" name="Foliennummernplatzhalter 31">
            <a:extLst>
              <a:ext uri="{FF2B5EF4-FFF2-40B4-BE49-F238E27FC236}">
                <a16:creationId xmlns:a16="http://schemas.microsoft.com/office/drawing/2014/main" id="{8F88376B-1D40-4404-8ABD-7C73E4856C2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789E0D2-C837-8B4F-86AA-2C445A0692A5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F55A93C-FE4C-4B2B-B2D2-837F9F9C4E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ltGray">
          <a:xfrm flipV="1">
            <a:off x="1009650" y="3453318"/>
            <a:ext cx="10163175" cy="318974"/>
          </a:xfrm>
          <a:prstGeom prst="rect">
            <a:avLst/>
          </a:prstGeom>
        </p:spPr>
      </p:pic>
      <p:sp>
        <p:nvSpPr>
          <p:cNvPr id="33" name="Bildplatzhalter 31">
            <a:extLst>
              <a:ext uri="{FF2B5EF4-FFF2-40B4-BE49-F238E27FC236}">
                <a16:creationId xmlns:a16="http://schemas.microsoft.com/office/drawing/2014/main" id="{4CFDA064-947C-4D14-8656-BDC100D849C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de-DE" dirty="0"/>
              <a:t>Bereichs-Kennzeichnung</a:t>
            </a:r>
          </a:p>
        </p:txBody>
      </p:sp>
      <p:sp>
        <p:nvSpPr>
          <p:cNvPr id="77" name="Textplatzhalter 7">
            <a:extLst>
              <a:ext uri="{FF2B5EF4-FFF2-40B4-BE49-F238E27FC236}">
                <a16:creationId xmlns:a16="http://schemas.microsoft.com/office/drawing/2014/main" id="{7EFB545D-9B2A-4221-9076-D36451F1FF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94481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78" name="Inhaltsplatzhalter 17">
            <a:extLst>
              <a:ext uri="{FF2B5EF4-FFF2-40B4-BE49-F238E27FC236}">
                <a16:creationId xmlns:a16="http://schemas.microsoft.com/office/drawing/2014/main" id="{68F6896F-4B64-4535-9C8C-4C8B3FB819F2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7594757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Jahr</a:t>
            </a:r>
          </a:p>
        </p:txBody>
      </p:sp>
    </p:spTree>
    <p:extLst>
      <p:ext uri="{BB962C8B-B14F-4D97-AF65-F5344CB8AC3E}">
        <p14:creationId xmlns:p14="http://schemas.microsoft.com/office/powerpoint/2010/main" val="36805878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-Bild-Komb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B29F9CD-67E6-420F-B75D-295A8A7C003A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>
          <a:xfrm>
            <a:off x="838202" y="1797052"/>
            <a:ext cx="5079566" cy="4083049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6B8F30-7F3C-1E4E-87CF-D569AACE68BC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DCB4053-535D-E042-A6D5-68E70EAB654A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838199" y="1452600"/>
            <a:ext cx="5075636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2" indent="0">
              <a:buNone/>
              <a:defRPr sz="1600" b="1"/>
            </a:lvl5pPr>
            <a:lvl6pPr marL="2285828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Untertitel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36477A2-4192-634F-86C3-9443596864D5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© Schrack Seconet AG 2021 – International template – Edit footer via "Insert / Header &amp; Footer"</a:t>
            </a:r>
            <a:endParaRPr lang="en-US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25E1697D-8B5D-4274-A93A-8DF34C4A857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14" name="Bildplatzhalter 31">
            <a:extLst>
              <a:ext uri="{FF2B5EF4-FFF2-40B4-BE49-F238E27FC236}">
                <a16:creationId xmlns:a16="http://schemas.microsoft.com/office/drawing/2014/main" id="{AB26544C-31F1-49DE-97F9-CFB3F20E273A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6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/>
              <a:t>Bereichs-Kennzeichnung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85FF78B1-0CB2-4789-A7BA-13EF9ACFDC61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7"/>
            </p:custDataLst>
          </p:nvPr>
        </p:nvSpPr>
        <p:spPr>
          <a:xfrm>
            <a:off x="4900560" y="6245"/>
            <a:ext cx="7291440" cy="6876000"/>
          </a:xfrm>
          <a:custGeom>
            <a:avLst/>
            <a:gdLst>
              <a:gd name="connsiteX0" fmla="*/ 0 w 14983580"/>
              <a:gd name="connsiteY0" fmla="*/ 0 h 13716000"/>
              <a:gd name="connsiteX1" fmla="*/ 14983580 w 14983580"/>
              <a:gd name="connsiteY1" fmla="*/ 0 h 13716000"/>
              <a:gd name="connsiteX2" fmla="*/ 14983580 w 14983580"/>
              <a:gd name="connsiteY2" fmla="*/ 13716000 h 13716000"/>
              <a:gd name="connsiteX3" fmla="*/ 0 w 14983580"/>
              <a:gd name="connsiteY3" fmla="*/ 13716000 h 13716000"/>
              <a:gd name="connsiteX4" fmla="*/ 0 w 14983580"/>
              <a:gd name="connsiteY4" fmla="*/ 0 h 13716000"/>
              <a:gd name="connsiteX0" fmla="*/ 6415790 w 14983580"/>
              <a:gd name="connsiteY0" fmla="*/ 0 h 13730990"/>
              <a:gd name="connsiteX1" fmla="*/ 14983580 w 14983580"/>
              <a:gd name="connsiteY1" fmla="*/ 14990 h 13730990"/>
              <a:gd name="connsiteX2" fmla="*/ 14983580 w 14983580"/>
              <a:gd name="connsiteY2" fmla="*/ 13730990 h 13730990"/>
              <a:gd name="connsiteX3" fmla="*/ 0 w 14983580"/>
              <a:gd name="connsiteY3" fmla="*/ 13730990 h 13730990"/>
              <a:gd name="connsiteX4" fmla="*/ 6415790 w 14983580"/>
              <a:gd name="connsiteY4" fmla="*/ 0 h 13730990"/>
              <a:gd name="connsiteX0" fmla="*/ 6817788 w 15385578"/>
              <a:gd name="connsiteY0" fmla="*/ 0 h 13730990"/>
              <a:gd name="connsiteX1" fmla="*/ 15385578 w 15385578"/>
              <a:gd name="connsiteY1" fmla="*/ 14990 h 13730990"/>
              <a:gd name="connsiteX2" fmla="*/ 15385578 w 15385578"/>
              <a:gd name="connsiteY2" fmla="*/ 13730990 h 13730990"/>
              <a:gd name="connsiteX3" fmla="*/ 0 w 15385578"/>
              <a:gd name="connsiteY3" fmla="*/ 13730990 h 13730990"/>
              <a:gd name="connsiteX4" fmla="*/ 6817788 w 15385578"/>
              <a:gd name="connsiteY4" fmla="*/ 0 h 13730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5578" h="13730990">
                <a:moveTo>
                  <a:pt x="6817788" y="0"/>
                </a:moveTo>
                <a:lnTo>
                  <a:pt x="15385578" y="14990"/>
                </a:lnTo>
                <a:lnTo>
                  <a:pt x="15385578" y="13730990"/>
                </a:lnTo>
                <a:lnTo>
                  <a:pt x="0" y="13730990"/>
                </a:lnTo>
                <a:lnTo>
                  <a:pt x="6817788" y="0"/>
                </a:lnTo>
                <a:close/>
              </a:path>
            </a:pathLst>
          </a:custGeo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77546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4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platzhalter 18">
            <a:extLst>
              <a:ext uri="{FF2B5EF4-FFF2-40B4-BE49-F238E27FC236}">
                <a16:creationId xmlns:a16="http://schemas.microsoft.com/office/drawing/2014/main" id="{94EDB9F5-A5D3-274B-87C4-35699DAE710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ltGray">
          <a:xfrm>
            <a:off x="9002643" y="4202031"/>
            <a:ext cx="2340000" cy="1757913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4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5DD2DE9B-BD5F-8E40-AFCE-E183C5331C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860628" y="4207912"/>
            <a:ext cx="2340000" cy="1757913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4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A70F5C10-8008-DC43-9B65-FE71885973B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ltGray">
          <a:xfrm>
            <a:off x="860628" y="4534204"/>
            <a:ext cx="2340000" cy="223580"/>
          </a:xfrm>
          <a:prstGeom prst="rect">
            <a:avLst/>
          </a:prstGeom>
          <a:noFill/>
          <a:ln>
            <a:noFill/>
          </a:ln>
        </p:spPr>
        <p:txBody>
          <a:bodyPr lIns="72000" tIns="0" rIns="72000" bIns="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Untertitel</a:t>
            </a:r>
            <a:endParaRPr lang="en-US" noProof="0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48FA969-D29F-8D47-B93A-01FD463CA7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ltGray">
          <a:xfrm>
            <a:off x="860628" y="4843444"/>
            <a:ext cx="2340000" cy="1122363"/>
          </a:xfrm>
          <a:prstGeom prst="rect">
            <a:avLst/>
          </a:prstGeom>
          <a:noFill/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60628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auf Symbol </a:t>
            </a:r>
            <a:r>
              <a:rPr lang="en-US" noProof="0" dirty="0" err="1"/>
              <a:t>hinzufügen</a:t>
            </a:r>
            <a:endParaRPr lang="en-US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574633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auf Symbol </a:t>
            </a:r>
            <a:r>
              <a:rPr lang="en-US" noProof="0" dirty="0" err="1"/>
              <a:t>hinzufügen</a:t>
            </a:r>
            <a:endParaRPr lang="en-US" noProof="0" dirty="0"/>
          </a:p>
        </p:txBody>
      </p:sp>
      <p:sp>
        <p:nvSpPr>
          <p:cNvPr id="37" name="Bildplatzhalter 34">
            <a:extLst>
              <a:ext uri="{FF2B5EF4-FFF2-40B4-BE49-F238E27FC236}">
                <a16:creationId xmlns:a16="http://schemas.microsoft.com/office/drawing/2014/main" id="{F36A34E1-5618-CB48-ADC6-17A5BD0D924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288638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auf Symbol </a:t>
            </a:r>
            <a:r>
              <a:rPr lang="en-US" noProof="0" dirty="0" err="1"/>
              <a:t>hinzufügen</a:t>
            </a:r>
            <a:endParaRPr lang="en-US" noProof="0" dirty="0"/>
          </a:p>
        </p:txBody>
      </p:sp>
      <p:sp>
        <p:nvSpPr>
          <p:cNvPr id="38" name="Bildplatzhalter 34">
            <a:extLst>
              <a:ext uri="{FF2B5EF4-FFF2-40B4-BE49-F238E27FC236}">
                <a16:creationId xmlns:a16="http://schemas.microsoft.com/office/drawing/2014/main" id="{3760E902-C0FF-6F4D-AF66-6B9B2A06F73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002643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US" noProof="0" dirty="0"/>
              <a:t>Bild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auf Symbol </a:t>
            </a:r>
            <a:r>
              <a:rPr lang="en-US" noProof="0" dirty="0" err="1"/>
              <a:t>hinzufügen</a:t>
            </a:r>
            <a:endParaRPr lang="en-US" noProof="0" dirty="0"/>
          </a:p>
        </p:txBody>
      </p:sp>
      <p:sp>
        <p:nvSpPr>
          <p:cNvPr id="34" name="Textplatzhalter 18">
            <a:extLst>
              <a:ext uri="{FF2B5EF4-FFF2-40B4-BE49-F238E27FC236}">
                <a16:creationId xmlns:a16="http://schemas.microsoft.com/office/drawing/2014/main" id="{FAEC829A-729C-4846-9015-BB7091E245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ltGray">
          <a:xfrm>
            <a:off x="3574633" y="4207912"/>
            <a:ext cx="2340000" cy="1757913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4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39" name="Inhaltsplatzhalter 20">
            <a:extLst>
              <a:ext uri="{FF2B5EF4-FFF2-40B4-BE49-F238E27FC236}">
                <a16:creationId xmlns:a16="http://schemas.microsoft.com/office/drawing/2014/main" id="{5AD8DA37-A4A2-AD46-B4C9-FE6EFC30D77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 bwMode="ltGray">
          <a:xfrm>
            <a:off x="3574633" y="4534204"/>
            <a:ext cx="2340000" cy="223580"/>
          </a:xfrm>
          <a:prstGeom prst="rect">
            <a:avLst/>
          </a:prstGeom>
          <a:noFill/>
          <a:ln>
            <a:noFill/>
          </a:ln>
        </p:spPr>
        <p:txBody>
          <a:bodyPr lIns="72000" tIns="0" rIns="72000" bIns="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Untertitel</a:t>
            </a:r>
            <a:endParaRPr lang="en-US" noProof="0" dirty="0"/>
          </a:p>
        </p:txBody>
      </p:sp>
      <p:sp>
        <p:nvSpPr>
          <p:cNvPr id="40" name="Textplatzhalter 22">
            <a:extLst>
              <a:ext uri="{FF2B5EF4-FFF2-40B4-BE49-F238E27FC236}">
                <a16:creationId xmlns:a16="http://schemas.microsoft.com/office/drawing/2014/main" id="{5DFCC2E1-560F-0547-9BD8-0A4BC667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ltGray">
          <a:xfrm>
            <a:off x="3574633" y="4843444"/>
            <a:ext cx="2340000" cy="1122363"/>
          </a:xfrm>
          <a:prstGeom prst="rect">
            <a:avLst/>
          </a:prstGeom>
          <a:noFill/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1" name="Textplatzhalter 18">
            <a:extLst>
              <a:ext uri="{FF2B5EF4-FFF2-40B4-BE49-F238E27FC236}">
                <a16:creationId xmlns:a16="http://schemas.microsoft.com/office/drawing/2014/main" id="{52E1B4DE-C1B1-6748-B974-422702BA6E0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ltGray">
          <a:xfrm>
            <a:off x="6288638" y="4202031"/>
            <a:ext cx="2340000" cy="1757913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4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Titel</a:t>
            </a:r>
            <a:endParaRPr lang="en-US" noProof="0" dirty="0"/>
          </a:p>
        </p:txBody>
      </p:sp>
      <p:sp>
        <p:nvSpPr>
          <p:cNvPr id="42" name="Inhaltsplatzhalter 20">
            <a:extLst>
              <a:ext uri="{FF2B5EF4-FFF2-40B4-BE49-F238E27FC236}">
                <a16:creationId xmlns:a16="http://schemas.microsoft.com/office/drawing/2014/main" id="{4316A382-DF52-5947-85BE-5923F24F1B0F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 bwMode="ltGray">
          <a:xfrm>
            <a:off x="6288638" y="4528324"/>
            <a:ext cx="2340000" cy="223580"/>
          </a:xfrm>
          <a:prstGeom prst="rect">
            <a:avLst/>
          </a:prstGeom>
          <a:noFill/>
          <a:ln>
            <a:noFill/>
          </a:ln>
        </p:spPr>
        <p:txBody>
          <a:bodyPr lIns="72000" tIns="0" rIns="72000" bIns="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Untertitel</a:t>
            </a:r>
            <a:endParaRPr lang="en-US" noProof="0" dirty="0"/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DA306E15-0ADA-7C48-9C62-37437004412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ltGray">
          <a:xfrm>
            <a:off x="6288638" y="4837563"/>
            <a:ext cx="2340000" cy="1122363"/>
          </a:xfrm>
          <a:prstGeom prst="rect">
            <a:avLst/>
          </a:prstGeom>
          <a:noFill/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5" name="Inhaltsplatzhalter 20">
            <a:extLst>
              <a:ext uri="{FF2B5EF4-FFF2-40B4-BE49-F238E27FC236}">
                <a16:creationId xmlns:a16="http://schemas.microsoft.com/office/drawing/2014/main" id="{90B95FF6-73E7-7743-858F-2ED93F940C02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 bwMode="ltGray">
          <a:xfrm>
            <a:off x="9002643" y="4528324"/>
            <a:ext cx="2340000" cy="223580"/>
          </a:xfrm>
          <a:prstGeom prst="rect">
            <a:avLst/>
          </a:prstGeom>
          <a:noFill/>
          <a:ln>
            <a:noFill/>
          </a:ln>
        </p:spPr>
        <p:txBody>
          <a:bodyPr lIns="72000" tIns="0" rIns="72000" bIns="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US" noProof="0" dirty="0" err="1"/>
              <a:t>Untertitel</a:t>
            </a:r>
            <a:endParaRPr lang="en-US" noProof="0" dirty="0"/>
          </a:p>
        </p:txBody>
      </p:sp>
      <p:sp>
        <p:nvSpPr>
          <p:cNvPr id="46" name="Textplatzhalter 22">
            <a:extLst>
              <a:ext uri="{FF2B5EF4-FFF2-40B4-BE49-F238E27FC236}">
                <a16:creationId xmlns:a16="http://schemas.microsoft.com/office/drawing/2014/main" id="{7136A4A8-AC7F-E54B-9835-8E02B823EE0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ltGray">
          <a:xfrm>
            <a:off x="9002643" y="4837563"/>
            <a:ext cx="2340000" cy="1122363"/>
          </a:xfrm>
          <a:prstGeom prst="rect">
            <a:avLst/>
          </a:prstGeom>
          <a:noFill/>
          <a:ln>
            <a:noFill/>
          </a:ln>
        </p:spPr>
        <p:txBody>
          <a:bodyPr lIns="72000" tIns="72000" rIns="72000" bIns="72000">
            <a:noAutofit/>
          </a:bodyPr>
          <a:lstStyle>
            <a:lvl1pPr marL="0" indent="0" algn="ctr">
              <a:spcBef>
                <a:spcPts val="400"/>
              </a:spcBef>
              <a:buNone/>
              <a:defRPr sz="1267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en-US"/>
              <a:t>© Schrack Seconet AG 2021 – International template – Edit footer via "Insert / Header &amp; Footer"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89E0D2-C837-8B4F-86AA-2C445A0692A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7" name="Bildplatzhalter 31">
            <a:extLst>
              <a:ext uri="{FF2B5EF4-FFF2-40B4-BE49-F238E27FC236}">
                <a16:creationId xmlns:a16="http://schemas.microsoft.com/office/drawing/2014/main" id="{9AC5FAFA-B8A6-46ED-A5F3-C7CA1A26EFF5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de-DE" dirty="0"/>
              <a:t>Bereichs-Kennzeichnung</a:t>
            </a:r>
          </a:p>
        </p:txBody>
      </p:sp>
    </p:spTree>
    <p:extLst>
      <p:ext uri="{BB962C8B-B14F-4D97-AF65-F5344CB8AC3E}">
        <p14:creationId xmlns:p14="http://schemas.microsoft.com/office/powerpoint/2010/main" val="15980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 4 Elemente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F9E4B7F-BD17-1E4F-A54D-DD6B2CA5E22A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"/>
            </p:custDataLst>
          </p:nvPr>
        </p:nvSpPr>
        <p:spPr bwMode="ltGray">
          <a:xfrm>
            <a:off x="838201" y="3429001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1</a:t>
            </a:r>
            <a:endParaRPr lang="en-GB" dirty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798194E-8B57-A947-A3B4-7CA4E656B700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"/>
            </p:custDataLst>
          </p:nvPr>
        </p:nvSpPr>
        <p:spPr bwMode="ltGray">
          <a:xfrm>
            <a:off x="838854" y="4272501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06F0291E-A82A-134B-96DD-E569ED302556}"/>
              </a:ext>
            </a:extLst>
          </p:cNvPr>
          <p:cNvSpPr>
            <a:spLocks noGrp="1"/>
          </p:cNvSpPr>
          <p:nvPr>
            <p:ph type="body" sz="quarter" idx="46" hasCustomPrompt="1"/>
            <p:custDataLst>
              <p:tags r:id="rId3"/>
            </p:custDataLst>
          </p:nvPr>
        </p:nvSpPr>
        <p:spPr>
          <a:xfrm>
            <a:off x="838855" y="485178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2DC84E3E-A89E-E04D-92F3-A0E632C12423}"/>
              </a:ext>
            </a:extLst>
          </p:cNvPr>
          <p:cNvSpPr>
            <a:spLocks noGrp="1"/>
          </p:cNvSpPr>
          <p:nvPr>
            <p:ph type="body" sz="quarter" idx="47" hasCustomPrompt="1"/>
            <p:custDataLst>
              <p:tags r:id="rId4"/>
            </p:custDataLst>
          </p:nvPr>
        </p:nvSpPr>
        <p:spPr bwMode="ltGray">
          <a:xfrm>
            <a:off x="3546265" y="3429001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2</a:t>
            </a:r>
            <a:endParaRPr lang="en-GB" dirty="0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B919DBD4-38F4-2046-A12D-262A55A06E48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5"/>
            </p:custDataLst>
          </p:nvPr>
        </p:nvSpPr>
        <p:spPr bwMode="ltGray">
          <a:xfrm>
            <a:off x="3546920" y="4272501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B0069188-D3BA-7448-93D7-D6DFECE2588A}"/>
              </a:ext>
            </a:extLst>
          </p:cNvPr>
          <p:cNvSpPr>
            <a:spLocks noGrp="1"/>
          </p:cNvSpPr>
          <p:nvPr>
            <p:ph type="body" sz="quarter" idx="49" hasCustomPrompt="1"/>
            <p:custDataLst>
              <p:tags r:id="rId6"/>
            </p:custDataLst>
          </p:nvPr>
        </p:nvSpPr>
        <p:spPr>
          <a:xfrm>
            <a:off x="3546920" y="485178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B89E4F4-EBB0-C24E-917E-5B4D2F0F790E}"/>
              </a:ext>
            </a:extLst>
          </p:cNvPr>
          <p:cNvSpPr>
            <a:spLocks noGrp="1"/>
          </p:cNvSpPr>
          <p:nvPr>
            <p:ph type="body" sz="quarter" idx="50" hasCustomPrompt="1"/>
            <p:custDataLst>
              <p:tags r:id="rId7"/>
            </p:custDataLst>
          </p:nvPr>
        </p:nvSpPr>
        <p:spPr bwMode="ltGray">
          <a:xfrm>
            <a:off x="6389577" y="3429001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3</a:t>
            </a:r>
            <a:endParaRPr lang="en-GB" dirty="0"/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1F5C867F-EAEE-9D40-BCD4-83F4C5EDDB97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8"/>
            </p:custDataLst>
          </p:nvPr>
        </p:nvSpPr>
        <p:spPr bwMode="ltGray">
          <a:xfrm>
            <a:off x="6390233" y="4272501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F5BBD6C1-5449-8340-AE28-DBF889926758}"/>
              </a:ext>
            </a:extLst>
          </p:cNvPr>
          <p:cNvSpPr>
            <a:spLocks noGrp="1"/>
          </p:cNvSpPr>
          <p:nvPr>
            <p:ph type="body" sz="quarter" idx="52" hasCustomPrompt="1"/>
            <p:custDataLst>
              <p:tags r:id="rId9"/>
            </p:custDataLst>
          </p:nvPr>
        </p:nvSpPr>
        <p:spPr>
          <a:xfrm>
            <a:off x="6390233" y="485178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B3681F6C-AF13-A548-9EE2-679C55F03608}"/>
              </a:ext>
            </a:extLst>
          </p:cNvPr>
          <p:cNvSpPr>
            <a:spLocks noGrp="1"/>
          </p:cNvSpPr>
          <p:nvPr>
            <p:ph type="body" sz="quarter" idx="53" hasCustomPrompt="1"/>
            <p:custDataLst>
              <p:tags r:id="rId10"/>
            </p:custDataLst>
          </p:nvPr>
        </p:nvSpPr>
        <p:spPr bwMode="ltGray">
          <a:xfrm>
            <a:off x="9098297" y="3439079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4</a:t>
            </a:r>
            <a:endParaRPr lang="en-GB" dirty="0"/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1EA1EEB0-BD65-994B-B1D4-FED4569061DF}"/>
              </a:ext>
            </a:extLst>
          </p:cNvPr>
          <p:cNvSpPr>
            <a:spLocks noGrp="1"/>
          </p:cNvSpPr>
          <p:nvPr>
            <p:ph type="body" sz="quarter" idx="54" hasCustomPrompt="1"/>
            <p:custDataLst>
              <p:tags r:id="rId11"/>
            </p:custDataLst>
          </p:nvPr>
        </p:nvSpPr>
        <p:spPr bwMode="ltGray">
          <a:xfrm>
            <a:off x="9098952" y="4282579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19" name="Textplatzhalter 24">
            <a:extLst>
              <a:ext uri="{FF2B5EF4-FFF2-40B4-BE49-F238E27FC236}">
                <a16:creationId xmlns:a16="http://schemas.microsoft.com/office/drawing/2014/main" id="{8F77358A-9768-7F40-97EB-59BFAA13DAFB}"/>
              </a:ext>
            </a:extLst>
          </p:cNvPr>
          <p:cNvSpPr>
            <a:spLocks noGrp="1"/>
          </p:cNvSpPr>
          <p:nvPr>
            <p:ph type="body" sz="quarter" idx="55" hasCustomPrompt="1"/>
            <p:custDataLst>
              <p:tags r:id="rId12"/>
            </p:custDataLst>
          </p:nvPr>
        </p:nvSpPr>
        <p:spPr>
          <a:xfrm>
            <a:off x="9098952" y="486186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C4A9E03C-9F14-604C-A37F-6C81AE96D641}"/>
              </a:ext>
            </a:extLst>
          </p:cNvPr>
          <p:cNvSpPr>
            <a:spLocks noGrp="1"/>
          </p:cNvSpPr>
          <p:nvPr>
            <p:ph type="pic" sz="quarter" idx="56"/>
            <p:custDataLst>
              <p:tags r:id="rId13"/>
            </p:custDataLst>
          </p:nvPr>
        </p:nvSpPr>
        <p:spPr>
          <a:xfrm>
            <a:off x="838256" y="1951833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C6A0A355-C3DB-F54E-BB97-BDAC6A60D35F}"/>
              </a:ext>
            </a:extLst>
          </p:cNvPr>
          <p:cNvSpPr>
            <a:spLocks noGrp="1"/>
          </p:cNvSpPr>
          <p:nvPr>
            <p:ph type="pic" sz="quarter" idx="57"/>
            <p:custDataLst>
              <p:tags r:id="rId14"/>
            </p:custDataLst>
          </p:nvPr>
        </p:nvSpPr>
        <p:spPr>
          <a:xfrm>
            <a:off x="3546265" y="1951833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A456A562-101D-AF4E-A34E-4CFA3C8F4A2D}"/>
              </a:ext>
            </a:extLst>
          </p:cNvPr>
          <p:cNvSpPr>
            <a:spLocks noGrp="1"/>
          </p:cNvSpPr>
          <p:nvPr>
            <p:ph type="pic" sz="quarter" idx="58"/>
            <p:custDataLst>
              <p:tags r:id="rId15"/>
            </p:custDataLst>
          </p:nvPr>
        </p:nvSpPr>
        <p:spPr>
          <a:xfrm>
            <a:off x="6389579" y="1951201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5" name="Bildplatzhalter 20">
            <a:extLst>
              <a:ext uri="{FF2B5EF4-FFF2-40B4-BE49-F238E27FC236}">
                <a16:creationId xmlns:a16="http://schemas.microsoft.com/office/drawing/2014/main" id="{7647630B-0FA9-404B-9331-32C997770386}"/>
              </a:ext>
            </a:extLst>
          </p:cNvPr>
          <p:cNvSpPr>
            <a:spLocks noGrp="1"/>
          </p:cNvSpPr>
          <p:nvPr>
            <p:ph type="pic" sz="quarter" idx="59"/>
            <p:custDataLst>
              <p:tags r:id="rId16"/>
            </p:custDataLst>
          </p:nvPr>
        </p:nvSpPr>
        <p:spPr>
          <a:xfrm>
            <a:off x="9097580" y="1951201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E208BCD-7C42-40C4-933F-1B3A58279477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973B22-C0CE-4521-82E1-39EF0108A09B}"/>
              </a:ext>
            </a:extLst>
          </p:cNvPr>
          <p:cNvSpPr>
            <a:spLocks noGrp="1"/>
          </p:cNvSpPr>
          <p:nvPr>
            <p:ph type="ftr" sz="quarter" idx="60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1A5FEC9-742E-4B87-AB11-EBC75CF50251}"/>
              </a:ext>
            </a:extLst>
          </p:cNvPr>
          <p:cNvSpPr>
            <a:spLocks noGrp="1"/>
          </p:cNvSpPr>
          <p:nvPr>
            <p:ph type="sldNum" sz="quarter" idx="61"/>
            <p:custDataLst>
              <p:tags r:id="rId19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4881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haltsverzeichnis 6 Elem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D58A8C-2900-6049-915F-FA0803430AC6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"/>
            </p:custDataLst>
          </p:nvPr>
        </p:nvSpPr>
        <p:spPr bwMode="ltGray">
          <a:xfrm>
            <a:off x="853484" y="1350010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1</a:t>
            </a:r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D2EA184-CE47-AE4D-BD12-B4977B83B9B1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"/>
            </p:custDataLst>
          </p:nvPr>
        </p:nvSpPr>
        <p:spPr bwMode="ltGray">
          <a:xfrm>
            <a:off x="852883" y="2193510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30" name="Textplatzhalter 22">
            <a:extLst>
              <a:ext uri="{FF2B5EF4-FFF2-40B4-BE49-F238E27FC236}">
                <a16:creationId xmlns:a16="http://schemas.microsoft.com/office/drawing/2014/main" id="{DDAF71FF-555A-5349-932B-9D55DACDF78A}"/>
              </a:ext>
            </a:extLst>
          </p:cNvPr>
          <p:cNvSpPr>
            <a:spLocks noGrp="1"/>
          </p:cNvSpPr>
          <p:nvPr>
            <p:ph type="body" sz="quarter" idx="45" hasCustomPrompt="1"/>
            <p:custDataLst>
              <p:tags r:id="rId3"/>
            </p:custDataLst>
          </p:nvPr>
        </p:nvSpPr>
        <p:spPr>
          <a:xfrm>
            <a:off x="852830" y="2791619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31" name="Textplatzhalter 24">
            <a:extLst>
              <a:ext uri="{FF2B5EF4-FFF2-40B4-BE49-F238E27FC236}">
                <a16:creationId xmlns:a16="http://schemas.microsoft.com/office/drawing/2014/main" id="{042FAD95-4472-734C-8601-E02FDEB9A673}"/>
              </a:ext>
            </a:extLst>
          </p:cNvPr>
          <p:cNvSpPr>
            <a:spLocks noGrp="1"/>
          </p:cNvSpPr>
          <p:nvPr>
            <p:ph type="body" sz="quarter" idx="46" hasCustomPrompt="1"/>
            <p:custDataLst>
              <p:tags r:id="rId4"/>
            </p:custDataLst>
          </p:nvPr>
        </p:nvSpPr>
        <p:spPr>
          <a:xfrm>
            <a:off x="1609617" y="2791619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2D774A-FA44-404F-85C0-CC86BC3DD47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D0F5A4-A7FC-4902-B69C-F4355F933DDD}"/>
              </a:ext>
            </a:extLst>
          </p:cNvPr>
          <p:cNvSpPr>
            <a:spLocks noGrp="1"/>
          </p:cNvSpPr>
          <p:nvPr>
            <p:ph type="ftr" sz="quarter" idx="5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27727F2-679C-4CD5-997E-0F956BF8BF1D}"/>
              </a:ext>
            </a:extLst>
          </p:cNvPr>
          <p:cNvSpPr>
            <a:spLocks noGrp="1"/>
          </p:cNvSpPr>
          <p:nvPr>
            <p:ph type="sldNum" sz="quarter" idx="5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1CE984F-807E-4B07-87F7-51DB0597704C}"/>
              </a:ext>
            </a:extLst>
          </p:cNvPr>
          <p:cNvSpPr>
            <a:spLocks noGrp="1"/>
          </p:cNvSpPr>
          <p:nvPr>
            <p:ph type="body" sz="quarter" idx="53" hasCustomPrompt="1"/>
            <p:custDataLst>
              <p:tags r:id="rId8"/>
            </p:custDataLst>
          </p:nvPr>
        </p:nvSpPr>
        <p:spPr bwMode="ltGray">
          <a:xfrm>
            <a:off x="519483" y="1530918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cxnSp>
        <p:nvCxnSpPr>
          <p:cNvPr id="36" name="Gerade Verbindung 36">
            <a:extLst>
              <a:ext uri="{FF2B5EF4-FFF2-40B4-BE49-F238E27FC236}">
                <a16:creationId xmlns:a16="http://schemas.microsoft.com/office/drawing/2014/main" id="{CEA2AD0C-D764-4960-AEB5-495DAD1FAD85}"/>
              </a:ext>
            </a:extLst>
          </p:cNvPr>
          <p:cNvCxnSpPr/>
          <p:nvPr>
            <p:custDataLst>
              <p:tags r:id="rId9"/>
            </p:custDataLst>
          </p:nvPr>
        </p:nvCxnSpPr>
        <p:spPr bwMode="ltGray">
          <a:xfrm>
            <a:off x="838855" y="295315"/>
            <a:ext cx="1552601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722C6DF1-71CB-45F0-9CA2-B6096DB3EDEE}"/>
              </a:ext>
            </a:extLst>
          </p:cNvPr>
          <p:cNvSpPr>
            <a:spLocks noGrp="1"/>
          </p:cNvSpPr>
          <p:nvPr>
            <p:ph type="body" sz="quarter" idx="54" hasCustomPrompt="1"/>
            <p:custDataLst>
              <p:tags r:id="rId10"/>
            </p:custDataLst>
          </p:nvPr>
        </p:nvSpPr>
        <p:spPr bwMode="ltGray">
          <a:xfrm>
            <a:off x="853484" y="3893514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4</a:t>
            </a:r>
            <a:endParaRPr lang="en-GB" dirty="0"/>
          </a:p>
        </p:txBody>
      </p:sp>
      <p:sp>
        <p:nvSpPr>
          <p:cNvPr id="38" name="Textplatzhalter 13">
            <a:extLst>
              <a:ext uri="{FF2B5EF4-FFF2-40B4-BE49-F238E27FC236}">
                <a16:creationId xmlns:a16="http://schemas.microsoft.com/office/drawing/2014/main" id="{ABCABD15-2E9D-49C4-9CF6-660CE4BB23C5}"/>
              </a:ext>
            </a:extLst>
          </p:cNvPr>
          <p:cNvSpPr>
            <a:spLocks noGrp="1"/>
          </p:cNvSpPr>
          <p:nvPr>
            <p:ph type="body" sz="quarter" idx="55" hasCustomPrompt="1"/>
            <p:custDataLst>
              <p:tags r:id="rId11"/>
            </p:custDataLst>
          </p:nvPr>
        </p:nvSpPr>
        <p:spPr bwMode="ltGray">
          <a:xfrm>
            <a:off x="852883" y="4737014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E18414FA-07E0-4ED5-898F-91E9C0567877}"/>
              </a:ext>
            </a:extLst>
          </p:cNvPr>
          <p:cNvSpPr>
            <a:spLocks noGrp="1"/>
          </p:cNvSpPr>
          <p:nvPr>
            <p:ph type="body" sz="quarter" idx="56" hasCustomPrompt="1"/>
            <p:custDataLst>
              <p:tags r:id="rId12"/>
            </p:custDataLst>
          </p:nvPr>
        </p:nvSpPr>
        <p:spPr>
          <a:xfrm>
            <a:off x="852830" y="5335123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45" name="Textplatzhalter 24">
            <a:extLst>
              <a:ext uri="{FF2B5EF4-FFF2-40B4-BE49-F238E27FC236}">
                <a16:creationId xmlns:a16="http://schemas.microsoft.com/office/drawing/2014/main" id="{5A90D21B-9A11-4185-AF72-29ED00A05827}"/>
              </a:ext>
            </a:extLst>
          </p:cNvPr>
          <p:cNvSpPr>
            <a:spLocks noGrp="1"/>
          </p:cNvSpPr>
          <p:nvPr>
            <p:ph type="body" sz="quarter" idx="57" hasCustomPrompt="1"/>
            <p:custDataLst>
              <p:tags r:id="rId13"/>
            </p:custDataLst>
          </p:nvPr>
        </p:nvSpPr>
        <p:spPr>
          <a:xfrm>
            <a:off x="1609617" y="5335123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46" name="Textplatzhalter 20">
            <a:extLst>
              <a:ext uri="{FF2B5EF4-FFF2-40B4-BE49-F238E27FC236}">
                <a16:creationId xmlns:a16="http://schemas.microsoft.com/office/drawing/2014/main" id="{C846AD34-80BD-4A11-9F94-C3E597EE981D}"/>
              </a:ext>
            </a:extLst>
          </p:cNvPr>
          <p:cNvSpPr>
            <a:spLocks noGrp="1"/>
          </p:cNvSpPr>
          <p:nvPr>
            <p:ph type="body" sz="quarter" idx="58" hasCustomPrompt="1"/>
            <p:custDataLst>
              <p:tags r:id="rId14"/>
            </p:custDataLst>
          </p:nvPr>
        </p:nvSpPr>
        <p:spPr bwMode="ltGray">
          <a:xfrm>
            <a:off x="519483" y="4074422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278F4ED-85A8-406D-830C-5EC95C967CBC}"/>
              </a:ext>
            </a:extLst>
          </p:cNvPr>
          <p:cNvSpPr>
            <a:spLocks noGrp="1"/>
          </p:cNvSpPr>
          <p:nvPr>
            <p:ph type="body" sz="quarter" idx="59" hasCustomPrompt="1"/>
            <p:custDataLst>
              <p:tags r:id="rId15"/>
            </p:custDataLst>
          </p:nvPr>
        </p:nvSpPr>
        <p:spPr bwMode="ltGray">
          <a:xfrm>
            <a:off x="8336850" y="1350010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3</a:t>
            </a:r>
            <a:endParaRPr lang="en-GB" dirty="0"/>
          </a:p>
        </p:txBody>
      </p:sp>
      <p:sp>
        <p:nvSpPr>
          <p:cNvPr id="48" name="Textplatzhalter 13">
            <a:extLst>
              <a:ext uri="{FF2B5EF4-FFF2-40B4-BE49-F238E27FC236}">
                <a16:creationId xmlns:a16="http://schemas.microsoft.com/office/drawing/2014/main" id="{4A809A42-FB12-48C8-99C6-B1EE73B4C49D}"/>
              </a:ext>
            </a:extLst>
          </p:cNvPr>
          <p:cNvSpPr>
            <a:spLocks noGrp="1"/>
          </p:cNvSpPr>
          <p:nvPr>
            <p:ph type="body" sz="quarter" idx="60" hasCustomPrompt="1"/>
            <p:custDataLst>
              <p:tags r:id="rId16"/>
            </p:custDataLst>
          </p:nvPr>
        </p:nvSpPr>
        <p:spPr bwMode="ltGray">
          <a:xfrm>
            <a:off x="8336249" y="2193510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49" name="Textplatzhalter 22">
            <a:extLst>
              <a:ext uri="{FF2B5EF4-FFF2-40B4-BE49-F238E27FC236}">
                <a16:creationId xmlns:a16="http://schemas.microsoft.com/office/drawing/2014/main" id="{F93A0446-DCD6-4E25-B458-A3B11484DE02}"/>
              </a:ext>
            </a:extLst>
          </p:cNvPr>
          <p:cNvSpPr>
            <a:spLocks noGrp="1"/>
          </p:cNvSpPr>
          <p:nvPr>
            <p:ph type="body" sz="quarter" idx="61" hasCustomPrompt="1"/>
            <p:custDataLst>
              <p:tags r:id="rId17"/>
            </p:custDataLst>
          </p:nvPr>
        </p:nvSpPr>
        <p:spPr>
          <a:xfrm>
            <a:off x="8336196" y="2791619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50" name="Textplatzhalter 24">
            <a:extLst>
              <a:ext uri="{FF2B5EF4-FFF2-40B4-BE49-F238E27FC236}">
                <a16:creationId xmlns:a16="http://schemas.microsoft.com/office/drawing/2014/main" id="{99C131C6-A34F-45BD-8AF4-18C4A396B909}"/>
              </a:ext>
            </a:extLst>
          </p:cNvPr>
          <p:cNvSpPr>
            <a:spLocks noGrp="1"/>
          </p:cNvSpPr>
          <p:nvPr>
            <p:ph type="body" sz="quarter" idx="62" hasCustomPrompt="1"/>
            <p:custDataLst>
              <p:tags r:id="rId18"/>
            </p:custDataLst>
          </p:nvPr>
        </p:nvSpPr>
        <p:spPr>
          <a:xfrm>
            <a:off x="9092983" y="2791619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51" name="Textplatzhalter 20">
            <a:extLst>
              <a:ext uri="{FF2B5EF4-FFF2-40B4-BE49-F238E27FC236}">
                <a16:creationId xmlns:a16="http://schemas.microsoft.com/office/drawing/2014/main" id="{63EB52FA-6704-41E0-9C96-CDB53104741B}"/>
              </a:ext>
            </a:extLst>
          </p:cNvPr>
          <p:cNvSpPr>
            <a:spLocks noGrp="1"/>
          </p:cNvSpPr>
          <p:nvPr>
            <p:ph type="body" sz="quarter" idx="63" hasCustomPrompt="1"/>
            <p:custDataLst>
              <p:tags r:id="rId19"/>
            </p:custDataLst>
          </p:nvPr>
        </p:nvSpPr>
        <p:spPr bwMode="ltGray">
          <a:xfrm>
            <a:off x="8002849" y="1530918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1D2774BC-ACB3-4F28-BE42-FB9F036C0C75}"/>
              </a:ext>
            </a:extLst>
          </p:cNvPr>
          <p:cNvSpPr>
            <a:spLocks noGrp="1"/>
          </p:cNvSpPr>
          <p:nvPr>
            <p:ph type="body" sz="quarter" idx="64" hasCustomPrompt="1"/>
            <p:custDataLst>
              <p:tags r:id="rId20"/>
            </p:custDataLst>
          </p:nvPr>
        </p:nvSpPr>
        <p:spPr bwMode="ltGray">
          <a:xfrm>
            <a:off x="8336850" y="3893514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6</a:t>
            </a:r>
            <a:endParaRPr lang="en-GB" dirty="0"/>
          </a:p>
        </p:txBody>
      </p:sp>
      <p:sp>
        <p:nvSpPr>
          <p:cNvPr id="53" name="Textplatzhalter 13">
            <a:extLst>
              <a:ext uri="{FF2B5EF4-FFF2-40B4-BE49-F238E27FC236}">
                <a16:creationId xmlns:a16="http://schemas.microsoft.com/office/drawing/2014/main" id="{9F4D7A4B-CE25-4E76-A1D6-A61C338D0C80}"/>
              </a:ext>
            </a:extLst>
          </p:cNvPr>
          <p:cNvSpPr>
            <a:spLocks noGrp="1"/>
          </p:cNvSpPr>
          <p:nvPr>
            <p:ph type="body" sz="quarter" idx="65" hasCustomPrompt="1"/>
            <p:custDataLst>
              <p:tags r:id="rId21"/>
            </p:custDataLst>
          </p:nvPr>
        </p:nvSpPr>
        <p:spPr bwMode="ltGray">
          <a:xfrm>
            <a:off x="8336249" y="4737014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54" name="Textplatzhalter 22">
            <a:extLst>
              <a:ext uri="{FF2B5EF4-FFF2-40B4-BE49-F238E27FC236}">
                <a16:creationId xmlns:a16="http://schemas.microsoft.com/office/drawing/2014/main" id="{3C2CFAAE-3B6E-487A-87D2-7C9E324ACD67}"/>
              </a:ext>
            </a:extLst>
          </p:cNvPr>
          <p:cNvSpPr>
            <a:spLocks noGrp="1"/>
          </p:cNvSpPr>
          <p:nvPr>
            <p:ph type="body" sz="quarter" idx="66" hasCustomPrompt="1"/>
            <p:custDataLst>
              <p:tags r:id="rId22"/>
            </p:custDataLst>
          </p:nvPr>
        </p:nvSpPr>
        <p:spPr>
          <a:xfrm>
            <a:off x="8336196" y="5335123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55" name="Textplatzhalter 24">
            <a:extLst>
              <a:ext uri="{FF2B5EF4-FFF2-40B4-BE49-F238E27FC236}">
                <a16:creationId xmlns:a16="http://schemas.microsoft.com/office/drawing/2014/main" id="{4E9C0D69-F569-4D50-98F1-2E78B7CD3C11}"/>
              </a:ext>
            </a:extLst>
          </p:cNvPr>
          <p:cNvSpPr>
            <a:spLocks noGrp="1"/>
          </p:cNvSpPr>
          <p:nvPr>
            <p:ph type="body" sz="quarter" idx="67" hasCustomPrompt="1"/>
            <p:custDataLst>
              <p:tags r:id="rId23"/>
            </p:custDataLst>
          </p:nvPr>
        </p:nvSpPr>
        <p:spPr>
          <a:xfrm>
            <a:off x="9092983" y="5335123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56" name="Textplatzhalter 20">
            <a:extLst>
              <a:ext uri="{FF2B5EF4-FFF2-40B4-BE49-F238E27FC236}">
                <a16:creationId xmlns:a16="http://schemas.microsoft.com/office/drawing/2014/main" id="{BBED818F-6A15-4E1E-A2F5-A77CCE1F1F7C}"/>
              </a:ext>
            </a:extLst>
          </p:cNvPr>
          <p:cNvSpPr>
            <a:spLocks noGrp="1"/>
          </p:cNvSpPr>
          <p:nvPr>
            <p:ph type="body" sz="quarter" idx="68" hasCustomPrompt="1"/>
            <p:custDataLst>
              <p:tags r:id="rId24"/>
            </p:custDataLst>
          </p:nvPr>
        </p:nvSpPr>
        <p:spPr bwMode="ltGray">
          <a:xfrm>
            <a:off x="8002849" y="4074422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57" name="Textplatzhalter 6">
            <a:extLst>
              <a:ext uri="{FF2B5EF4-FFF2-40B4-BE49-F238E27FC236}">
                <a16:creationId xmlns:a16="http://schemas.microsoft.com/office/drawing/2014/main" id="{15CE245D-D716-42A7-B314-B51BBD60DA07}"/>
              </a:ext>
            </a:extLst>
          </p:cNvPr>
          <p:cNvSpPr>
            <a:spLocks noGrp="1"/>
          </p:cNvSpPr>
          <p:nvPr>
            <p:ph type="body" sz="quarter" idx="69" hasCustomPrompt="1"/>
            <p:custDataLst>
              <p:tags r:id="rId25"/>
            </p:custDataLst>
          </p:nvPr>
        </p:nvSpPr>
        <p:spPr bwMode="ltGray">
          <a:xfrm>
            <a:off x="4583739" y="1350010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2</a:t>
            </a:r>
            <a:endParaRPr lang="en-GB" dirty="0"/>
          </a:p>
        </p:txBody>
      </p:sp>
      <p:sp>
        <p:nvSpPr>
          <p:cNvPr id="58" name="Textplatzhalter 13">
            <a:extLst>
              <a:ext uri="{FF2B5EF4-FFF2-40B4-BE49-F238E27FC236}">
                <a16:creationId xmlns:a16="http://schemas.microsoft.com/office/drawing/2014/main" id="{27B12EED-4AE1-41DE-8E0B-269F50DA520E}"/>
              </a:ext>
            </a:extLst>
          </p:cNvPr>
          <p:cNvSpPr>
            <a:spLocks noGrp="1"/>
          </p:cNvSpPr>
          <p:nvPr>
            <p:ph type="body" sz="quarter" idx="70" hasCustomPrompt="1"/>
            <p:custDataLst>
              <p:tags r:id="rId26"/>
            </p:custDataLst>
          </p:nvPr>
        </p:nvSpPr>
        <p:spPr bwMode="ltGray">
          <a:xfrm>
            <a:off x="4583138" y="2193510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59" name="Textplatzhalter 22">
            <a:extLst>
              <a:ext uri="{FF2B5EF4-FFF2-40B4-BE49-F238E27FC236}">
                <a16:creationId xmlns:a16="http://schemas.microsoft.com/office/drawing/2014/main" id="{D1AA1C41-BFAB-4AC3-B172-3960E0C81428}"/>
              </a:ext>
            </a:extLst>
          </p:cNvPr>
          <p:cNvSpPr>
            <a:spLocks noGrp="1"/>
          </p:cNvSpPr>
          <p:nvPr>
            <p:ph type="body" sz="quarter" idx="71" hasCustomPrompt="1"/>
            <p:custDataLst>
              <p:tags r:id="rId27"/>
            </p:custDataLst>
          </p:nvPr>
        </p:nvSpPr>
        <p:spPr>
          <a:xfrm>
            <a:off x="4583085" y="2791619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60" name="Textplatzhalter 24">
            <a:extLst>
              <a:ext uri="{FF2B5EF4-FFF2-40B4-BE49-F238E27FC236}">
                <a16:creationId xmlns:a16="http://schemas.microsoft.com/office/drawing/2014/main" id="{291002A9-E47C-46AC-8130-900355F9C494}"/>
              </a:ext>
            </a:extLst>
          </p:cNvPr>
          <p:cNvSpPr>
            <a:spLocks noGrp="1"/>
          </p:cNvSpPr>
          <p:nvPr>
            <p:ph type="body" sz="quarter" idx="72" hasCustomPrompt="1"/>
            <p:custDataLst>
              <p:tags r:id="rId28"/>
            </p:custDataLst>
          </p:nvPr>
        </p:nvSpPr>
        <p:spPr>
          <a:xfrm>
            <a:off x="5339872" y="2791619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61" name="Textplatzhalter 20">
            <a:extLst>
              <a:ext uri="{FF2B5EF4-FFF2-40B4-BE49-F238E27FC236}">
                <a16:creationId xmlns:a16="http://schemas.microsoft.com/office/drawing/2014/main" id="{7DD05CE5-E74B-49FC-84BB-F6F88B544A4A}"/>
              </a:ext>
            </a:extLst>
          </p:cNvPr>
          <p:cNvSpPr>
            <a:spLocks noGrp="1"/>
          </p:cNvSpPr>
          <p:nvPr>
            <p:ph type="body" sz="quarter" idx="73" hasCustomPrompt="1"/>
            <p:custDataLst>
              <p:tags r:id="rId29"/>
            </p:custDataLst>
          </p:nvPr>
        </p:nvSpPr>
        <p:spPr bwMode="ltGray">
          <a:xfrm>
            <a:off x="4249738" y="1530918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62" name="Textplatzhalter 6">
            <a:extLst>
              <a:ext uri="{FF2B5EF4-FFF2-40B4-BE49-F238E27FC236}">
                <a16:creationId xmlns:a16="http://schemas.microsoft.com/office/drawing/2014/main" id="{DCBD569B-421C-4D80-983C-0793189542EA}"/>
              </a:ext>
            </a:extLst>
          </p:cNvPr>
          <p:cNvSpPr>
            <a:spLocks noGrp="1"/>
          </p:cNvSpPr>
          <p:nvPr>
            <p:ph type="body" sz="quarter" idx="74" hasCustomPrompt="1"/>
            <p:custDataLst>
              <p:tags r:id="rId30"/>
            </p:custDataLst>
          </p:nvPr>
        </p:nvSpPr>
        <p:spPr bwMode="ltGray">
          <a:xfrm>
            <a:off x="4583739" y="3893514"/>
            <a:ext cx="1372861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5</a:t>
            </a:r>
            <a:endParaRPr lang="en-GB" dirty="0"/>
          </a:p>
        </p:txBody>
      </p:sp>
      <p:sp>
        <p:nvSpPr>
          <p:cNvPr id="63" name="Textplatzhalter 13">
            <a:extLst>
              <a:ext uri="{FF2B5EF4-FFF2-40B4-BE49-F238E27FC236}">
                <a16:creationId xmlns:a16="http://schemas.microsoft.com/office/drawing/2014/main" id="{0F0FFB26-9A61-4658-8289-7578336C3A66}"/>
              </a:ext>
            </a:extLst>
          </p:cNvPr>
          <p:cNvSpPr>
            <a:spLocks noGrp="1"/>
          </p:cNvSpPr>
          <p:nvPr>
            <p:ph type="body" sz="quarter" idx="75" hasCustomPrompt="1"/>
            <p:custDataLst>
              <p:tags r:id="rId31"/>
            </p:custDataLst>
          </p:nvPr>
        </p:nvSpPr>
        <p:spPr bwMode="ltGray">
          <a:xfrm>
            <a:off x="4583138" y="4737014"/>
            <a:ext cx="3010981" cy="58286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b="1" i="0" cap="all" baseline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64" name="Textplatzhalter 22">
            <a:extLst>
              <a:ext uri="{FF2B5EF4-FFF2-40B4-BE49-F238E27FC236}">
                <a16:creationId xmlns:a16="http://schemas.microsoft.com/office/drawing/2014/main" id="{99C9CFD3-F8D5-47E0-A348-B1071A8467A1}"/>
              </a:ext>
            </a:extLst>
          </p:cNvPr>
          <p:cNvSpPr>
            <a:spLocks noGrp="1"/>
          </p:cNvSpPr>
          <p:nvPr>
            <p:ph type="body" sz="quarter" idx="76" hasCustomPrompt="1"/>
            <p:custDataLst>
              <p:tags r:id="rId32"/>
            </p:custDataLst>
          </p:nvPr>
        </p:nvSpPr>
        <p:spPr>
          <a:xfrm>
            <a:off x="4583085" y="5335123"/>
            <a:ext cx="681922" cy="63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</a:p>
          <a:p>
            <a:pPr lvl="0"/>
            <a:r>
              <a:rPr lang="en-GB"/>
              <a:t>01-01</a:t>
            </a:r>
            <a:endParaRPr lang="en-GB" dirty="0"/>
          </a:p>
        </p:txBody>
      </p:sp>
      <p:sp>
        <p:nvSpPr>
          <p:cNvPr id="65" name="Textplatzhalter 24">
            <a:extLst>
              <a:ext uri="{FF2B5EF4-FFF2-40B4-BE49-F238E27FC236}">
                <a16:creationId xmlns:a16="http://schemas.microsoft.com/office/drawing/2014/main" id="{FC50CC88-45D1-41B7-9668-911094EB9B72}"/>
              </a:ext>
            </a:extLst>
          </p:cNvPr>
          <p:cNvSpPr>
            <a:spLocks noGrp="1"/>
          </p:cNvSpPr>
          <p:nvPr>
            <p:ph type="body" sz="quarter" idx="77" hasCustomPrompt="1"/>
            <p:custDataLst>
              <p:tags r:id="rId33"/>
            </p:custDataLst>
          </p:nvPr>
        </p:nvSpPr>
        <p:spPr>
          <a:xfrm>
            <a:off x="5339872" y="5335123"/>
            <a:ext cx="2254195" cy="6373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66" name="Textplatzhalter 20">
            <a:extLst>
              <a:ext uri="{FF2B5EF4-FFF2-40B4-BE49-F238E27FC236}">
                <a16:creationId xmlns:a16="http://schemas.microsoft.com/office/drawing/2014/main" id="{5549993C-E923-454D-BC96-E342BCC63F3D}"/>
              </a:ext>
            </a:extLst>
          </p:cNvPr>
          <p:cNvSpPr>
            <a:spLocks noGrp="1"/>
          </p:cNvSpPr>
          <p:nvPr>
            <p:ph type="body" sz="quarter" idx="78" hasCustomPrompt="1"/>
            <p:custDataLst>
              <p:tags r:id="rId34"/>
            </p:custDataLst>
          </p:nvPr>
        </p:nvSpPr>
        <p:spPr bwMode="ltGray">
          <a:xfrm>
            <a:off x="4249738" y="4074422"/>
            <a:ext cx="242517" cy="468000"/>
          </a:xfrm>
          <a:prstGeom prst="rect">
            <a:avLst/>
          </a:prstGeom>
          <a:blipFill>
            <a:blip r:embed="rId3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7366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 4 Elemente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F9E4B7F-BD17-1E4F-A54D-DD6B2CA5E22A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1"/>
            </p:custDataLst>
          </p:nvPr>
        </p:nvSpPr>
        <p:spPr bwMode="ltGray">
          <a:xfrm>
            <a:off x="838201" y="3429001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1</a:t>
            </a:r>
            <a:endParaRPr lang="en-GB" dirty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798194E-8B57-A947-A3B4-7CA4E656B700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"/>
            </p:custDataLst>
          </p:nvPr>
        </p:nvSpPr>
        <p:spPr bwMode="ltGray">
          <a:xfrm>
            <a:off x="838854" y="4272501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06F0291E-A82A-134B-96DD-E569ED302556}"/>
              </a:ext>
            </a:extLst>
          </p:cNvPr>
          <p:cNvSpPr>
            <a:spLocks noGrp="1"/>
          </p:cNvSpPr>
          <p:nvPr>
            <p:ph type="body" sz="quarter" idx="46" hasCustomPrompt="1"/>
            <p:custDataLst>
              <p:tags r:id="rId3"/>
            </p:custDataLst>
          </p:nvPr>
        </p:nvSpPr>
        <p:spPr>
          <a:xfrm>
            <a:off x="838855" y="485178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2DC84E3E-A89E-E04D-92F3-A0E632C12423}"/>
              </a:ext>
            </a:extLst>
          </p:cNvPr>
          <p:cNvSpPr>
            <a:spLocks noGrp="1"/>
          </p:cNvSpPr>
          <p:nvPr>
            <p:ph type="body" sz="quarter" idx="47" hasCustomPrompt="1"/>
            <p:custDataLst>
              <p:tags r:id="rId4"/>
            </p:custDataLst>
          </p:nvPr>
        </p:nvSpPr>
        <p:spPr bwMode="ltGray">
          <a:xfrm>
            <a:off x="3546265" y="3429001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2</a:t>
            </a:r>
            <a:endParaRPr lang="en-GB" dirty="0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B919DBD4-38F4-2046-A12D-262A55A06E48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5"/>
            </p:custDataLst>
          </p:nvPr>
        </p:nvSpPr>
        <p:spPr bwMode="ltGray">
          <a:xfrm>
            <a:off x="3546920" y="4272501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B0069188-D3BA-7448-93D7-D6DFECE2588A}"/>
              </a:ext>
            </a:extLst>
          </p:cNvPr>
          <p:cNvSpPr>
            <a:spLocks noGrp="1"/>
          </p:cNvSpPr>
          <p:nvPr>
            <p:ph type="body" sz="quarter" idx="49" hasCustomPrompt="1"/>
            <p:custDataLst>
              <p:tags r:id="rId6"/>
            </p:custDataLst>
          </p:nvPr>
        </p:nvSpPr>
        <p:spPr>
          <a:xfrm>
            <a:off x="3546920" y="485178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9B89E4F4-EBB0-C24E-917E-5B4D2F0F790E}"/>
              </a:ext>
            </a:extLst>
          </p:cNvPr>
          <p:cNvSpPr>
            <a:spLocks noGrp="1"/>
          </p:cNvSpPr>
          <p:nvPr>
            <p:ph type="body" sz="quarter" idx="50" hasCustomPrompt="1"/>
            <p:custDataLst>
              <p:tags r:id="rId7"/>
            </p:custDataLst>
          </p:nvPr>
        </p:nvSpPr>
        <p:spPr bwMode="ltGray">
          <a:xfrm>
            <a:off x="6389577" y="3429001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3</a:t>
            </a:r>
            <a:endParaRPr lang="en-GB" dirty="0"/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1F5C867F-EAEE-9D40-BCD4-83F4C5EDDB97}"/>
              </a:ext>
            </a:extLst>
          </p:cNvPr>
          <p:cNvSpPr>
            <a:spLocks noGrp="1"/>
          </p:cNvSpPr>
          <p:nvPr>
            <p:ph type="body" sz="quarter" idx="51" hasCustomPrompt="1"/>
            <p:custDataLst>
              <p:tags r:id="rId8"/>
            </p:custDataLst>
          </p:nvPr>
        </p:nvSpPr>
        <p:spPr bwMode="ltGray">
          <a:xfrm>
            <a:off x="6390233" y="4272501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F5BBD6C1-5449-8340-AE28-DBF889926758}"/>
              </a:ext>
            </a:extLst>
          </p:cNvPr>
          <p:cNvSpPr>
            <a:spLocks noGrp="1"/>
          </p:cNvSpPr>
          <p:nvPr>
            <p:ph type="body" sz="quarter" idx="52" hasCustomPrompt="1"/>
            <p:custDataLst>
              <p:tags r:id="rId9"/>
            </p:custDataLst>
          </p:nvPr>
        </p:nvSpPr>
        <p:spPr>
          <a:xfrm>
            <a:off x="6390233" y="485178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B3681F6C-AF13-A548-9EE2-679C55F03608}"/>
              </a:ext>
            </a:extLst>
          </p:cNvPr>
          <p:cNvSpPr>
            <a:spLocks noGrp="1"/>
          </p:cNvSpPr>
          <p:nvPr>
            <p:ph type="body" sz="quarter" idx="53" hasCustomPrompt="1"/>
            <p:custDataLst>
              <p:tags r:id="rId10"/>
            </p:custDataLst>
          </p:nvPr>
        </p:nvSpPr>
        <p:spPr bwMode="ltGray">
          <a:xfrm>
            <a:off x="9098297" y="3439079"/>
            <a:ext cx="2253595" cy="8334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66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04</a:t>
            </a:r>
            <a:endParaRPr lang="en-GB" dirty="0"/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1EA1EEB0-BD65-994B-B1D4-FED4569061DF}"/>
              </a:ext>
            </a:extLst>
          </p:cNvPr>
          <p:cNvSpPr>
            <a:spLocks noGrp="1"/>
          </p:cNvSpPr>
          <p:nvPr>
            <p:ph type="body" sz="quarter" idx="54" hasCustomPrompt="1"/>
            <p:custDataLst>
              <p:tags r:id="rId11"/>
            </p:custDataLst>
          </p:nvPr>
        </p:nvSpPr>
        <p:spPr bwMode="ltGray">
          <a:xfrm>
            <a:off x="9098952" y="4282579"/>
            <a:ext cx="2253595" cy="582868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KAPITEL</a:t>
            </a:r>
            <a:endParaRPr lang="en-GB" dirty="0"/>
          </a:p>
        </p:txBody>
      </p:sp>
      <p:sp>
        <p:nvSpPr>
          <p:cNvPr id="19" name="Textplatzhalter 24">
            <a:extLst>
              <a:ext uri="{FF2B5EF4-FFF2-40B4-BE49-F238E27FC236}">
                <a16:creationId xmlns:a16="http://schemas.microsoft.com/office/drawing/2014/main" id="{8F77358A-9768-7F40-97EB-59BFAA13DAFB}"/>
              </a:ext>
            </a:extLst>
          </p:cNvPr>
          <p:cNvSpPr>
            <a:spLocks noGrp="1"/>
          </p:cNvSpPr>
          <p:nvPr>
            <p:ph type="body" sz="quarter" idx="55" hasCustomPrompt="1"/>
            <p:custDataLst>
              <p:tags r:id="rId12"/>
            </p:custDataLst>
          </p:nvPr>
        </p:nvSpPr>
        <p:spPr>
          <a:xfrm>
            <a:off x="9098952" y="4861867"/>
            <a:ext cx="2254195" cy="1107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</a:p>
          <a:p>
            <a:pPr lvl="0"/>
            <a:r>
              <a:rPr lang="en-GB"/>
              <a:t>Thema</a:t>
            </a:r>
            <a:endParaRPr lang="en-GB" dirty="0"/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C4A9E03C-9F14-604C-A37F-6C81AE96D641}"/>
              </a:ext>
            </a:extLst>
          </p:cNvPr>
          <p:cNvSpPr>
            <a:spLocks noGrp="1"/>
          </p:cNvSpPr>
          <p:nvPr>
            <p:ph type="pic" sz="quarter" idx="56"/>
            <p:custDataLst>
              <p:tags r:id="rId13"/>
            </p:custDataLst>
          </p:nvPr>
        </p:nvSpPr>
        <p:spPr>
          <a:xfrm>
            <a:off x="838256" y="1951833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C6A0A355-C3DB-F54E-BB97-BDAC6A60D35F}"/>
              </a:ext>
            </a:extLst>
          </p:cNvPr>
          <p:cNvSpPr>
            <a:spLocks noGrp="1"/>
          </p:cNvSpPr>
          <p:nvPr>
            <p:ph type="pic" sz="quarter" idx="57"/>
            <p:custDataLst>
              <p:tags r:id="rId14"/>
            </p:custDataLst>
          </p:nvPr>
        </p:nvSpPr>
        <p:spPr>
          <a:xfrm>
            <a:off x="3546265" y="1951833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A456A562-101D-AF4E-A34E-4CFA3C8F4A2D}"/>
              </a:ext>
            </a:extLst>
          </p:cNvPr>
          <p:cNvSpPr>
            <a:spLocks noGrp="1"/>
          </p:cNvSpPr>
          <p:nvPr>
            <p:ph type="pic" sz="quarter" idx="58"/>
            <p:custDataLst>
              <p:tags r:id="rId15"/>
            </p:custDataLst>
          </p:nvPr>
        </p:nvSpPr>
        <p:spPr>
          <a:xfrm>
            <a:off x="6389579" y="1951201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5" name="Bildplatzhalter 20">
            <a:extLst>
              <a:ext uri="{FF2B5EF4-FFF2-40B4-BE49-F238E27FC236}">
                <a16:creationId xmlns:a16="http://schemas.microsoft.com/office/drawing/2014/main" id="{7647630B-0FA9-404B-9331-32C997770386}"/>
              </a:ext>
            </a:extLst>
          </p:cNvPr>
          <p:cNvSpPr>
            <a:spLocks noGrp="1"/>
          </p:cNvSpPr>
          <p:nvPr>
            <p:ph type="pic" sz="quarter" idx="59"/>
            <p:custDataLst>
              <p:tags r:id="rId16"/>
            </p:custDataLst>
          </p:nvPr>
        </p:nvSpPr>
        <p:spPr>
          <a:xfrm>
            <a:off x="9097580" y="1951201"/>
            <a:ext cx="2253603" cy="14771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E208BCD-7C42-40C4-933F-1B3A58279477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973B22-C0CE-4521-82E1-39EF0108A09B}"/>
              </a:ext>
            </a:extLst>
          </p:cNvPr>
          <p:cNvSpPr>
            <a:spLocks noGrp="1"/>
          </p:cNvSpPr>
          <p:nvPr>
            <p:ph type="ftr" sz="quarter" idx="60"/>
            <p:custDataLst>
              <p:tags r:id="rId18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1A5FEC9-742E-4B87-AB11-EBC75CF50251}"/>
              </a:ext>
            </a:extLst>
          </p:cNvPr>
          <p:cNvSpPr>
            <a:spLocks noGrp="1"/>
          </p:cNvSpPr>
          <p:nvPr>
            <p:ph type="sldNum" sz="quarter" idx="61"/>
            <p:custDataLst>
              <p:tags r:id="rId19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4278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435785-FB76-43F0-8B41-9AB8D13E795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386254-98EC-493A-A0E5-0D0AC31D6AC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715500" y="6406096"/>
            <a:ext cx="1522413" cy="265634"/>
          </a:xfrm>
          <a:prstGeom prst="rect">
            <a:avLst/>
          </a:prstGeom>
        </p:spPr>
        <p:txBody>
          <a:bodyPr/>
          <a:lstStyle>
            <a:lvl1pPr>
              <a:defRPr lang="en-GB" dirty="0"/>
            </a:lvl1pPr>
          </a:lstStyle>
          <a:p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7F52F9-BF32-4B55-B98D-418D7482ECA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F28E64-E408-47AD-A2F9-F204E2B0EE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FF95F09-154E-4DA4-B343-81FEC9916E9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D35AB2B-D5F1-4626-989C-A7708910486D}"/>
              </a:ext>
            </a:extLst>
          </p:cNvPr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844550" y="1465263"/>
            <a:ext cx="10496550" cy="450056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75775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435785-FB76-43F0-8B41-9AB8D13E795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386254-98EC-493A-A0E5-0D0AC31D6AC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715500" y="6406096"/>
            <a:ext cx="1522413" cy="265634"/>
          </a:xfrm>
          <a:prstGeom prst="rect">
            <a:avLst/>
          </a:prstGeom>
        </p:spPr>
        <p:txBody>
          <a:bodyPr/>
          <a:lstStyle>
            <a:lvl1pPr>
              <a:defRPr lang="en-GB" dirty="0"/>
            </a:lvl1pPr>
          </a:lstStyle>
          <a:p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7F52F9-BF32-4B55-B98D-418D7482ECA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F28E64-E408-47AD-A2F9-F204E2B0EE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FF95F09-154E-4DA4-B343-81FEC9916E9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02AB4F-B31E-4AA8-A621-5FA5FA25B136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5"/>
            </p:custDataLst>
          </p:nvPr>
        </p:nvSpPr>
        <p:spPr>
          <a:xfrm>
            <a:off x="844550" y="2312988"/>
            <a:ext cx="10501313" cy="2743200"/>
          </a:xfrm>
        </p:spPr>
        <p:txBody>
          <a:bodyPr/>
          <a:lstStyle>
            <a:lvl1pPr>
              <a:spcBef>
                <a:spcPts val="1800"/>
              </a:spcBef>
              <a:defRPr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1873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28D6BFB-8843-BD41-A84C-4EBA787A382F}"/>
              </a:ext>
            </a:extLst>
          </p:cNvPr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838256" y="1796258"/>
            <a:ext cx="10515491" cy="416718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2E318A0-E452-8C40-AC3C-8D3027CB40F5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 bwMode="gray">
          <a:xfrm>
            <a:off x="838256" y="1462358"/>
            <a:ext cx="10515491" cy="342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5C40B2C-F5FB-43EF-A31E-CFB90624D8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C859D4-B6EC-4950-B09A-8B32A0B59F33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2FC18C4-F874-43DB-9962-7E19A602AD44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27932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844550" y="1465263"/>
            <a:ext cx="5180737" cy="44964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172200" y="1465263"/>
            <a:ext cx="5181600" cy="44964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DC14428-AFF3-4B32-B0D9-B1518C3C1A6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5E6334F-6F95-4CDB-90EF-4DC64ED0BD11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7C3865E-EE78-496C-A2A1-3695A99589D5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8194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 bwMode="gray">
          <a:xfrm>
            <a:off x="839789" y="1462125"/>
            <a:ext cx="5157787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838856" y="1796400"/>
            <a:ext cx="5157787" cy="4167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  <p:custDataLst>
              <p:tags r:id="rId3"/>
            </p:custDataLst>
          </p:nvPr>
        </p:nvSpPr>
        <p:spPr bwMode="gray">
          <a:xfrm>
            <a:off x="6172201" y="1462125"/>
            <a:ext cx="5183188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4"/>
            </p:custDataLst>
          </p:nvPr>
        </p:nvSpPr>
        <p:spPr>
          <a:xfrm>
            <a:off x="6172201" y="1796400"/>
            <a:ext cx="5183188" cy="4167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4C5656D-8835-4ABD-9878-A5923A76062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C3AC67B5-E9BE-41A0-9945-972D66A3F365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6849C482-D6CD-48C3-A962-FA9F6CB46A4C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97564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D901A007-C123-C145-B30D-0ACD442B9966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0" y="0"/>
            <a:ext cx="12192000" cy="6855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082A441-EA2A-484D-B5D8-7FDED9B8F69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FF5F897-DFDA-4913-BB7A-BC2D7A630809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3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6240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 2 Info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D901A007-C123-C145-B30D-0ACD442B9966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0" y="0"/>
            <a:ext cx="12192000" cy="6855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E290EB88-7775-4DED-9DEA-85BAD278568E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 bwMode="ltGray">
          <a:xfrm>
            <a:off x="838200" y="5420785"/>
            <a:ext cx="3151717" cy="1435100"/>
          </a:xfrm>
          <a:prstGeom prst="rect">
            <a:avLst/>
          </a:prstGeom>
          <a:solidFill>
            <a:schemeClr val="accent5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26" name="Textplatzhalter 8">
            <a:extLst>
              <a:ext uri="{FF2B5EF4-FFF2-40B4-BE49-F238E27FC236}">
                <a16:creationId xmlns:a16="http://schemas.microsoft.com/office/drawing/2014/main" id="{9B911DC0-B6C0-4180-A782-E906EC1D9DB1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 bwMode="ltGray">
          <a:xfrm>
            <a:off x="4458143" y="5420785"/>
            <a:ext cx="6761794" cy="1435100"/>
          </a:xfrm>
          <a:prstGeom prst="rect">
            <a:avLst/>
          </a:prstGeom>
          <a:solidFill>
            <a:schemeClr val="accent2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68B6FA-81F4-4FFC-AA1C-522795BB4051}"/>
              </a:ext>
            </a:extLst>
          </p:cNvPr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 bwMode="white">
          <a:xfrm>
            <a:off x="4637825" y="5954185"/>
            <a:ext cx="6468325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335D2DE-CBD3-4C06-932E-508F2AECEA68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 bwMode="white">
          <a:xfrm>
            <a:off x="972063" y="5954183"/>
            <a:ext cx="2817183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BA29DE-EB9F-4884-8A65-2E801E7155C4}"/>
              </a:ext>
            </a:extLst>
          </p:cNvPr>
          <p:cNvSpPr>
            <a:spLocks noGrp="1"/>
          </p:cNvSpPr>
          <p:nvPr>
            <p:ph type="sldNum" sz="quarter" idx="24"/>
            <p:custDataLst>
              <p:tags r:id="rId6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1BFF4C-FBBC-469B-86F9-3841B95D58E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21290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, 3 Info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A785289-E131-3D4E-8A0E-C10A64861168}"/>
              </a:ext>
            </a:extLst>
          </p:cNvPr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>
          <a:xfrm>
            <a:off x="0" y="0"/>
            <a:ext cx="12192000" cy="6855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5F40461F-CB49-4D79-90E6-4604719C073E}"/>
              </a:ext>
            </a:extLst>
          </p:cNvPr>
          <p:cNvSpPr>
            <a:spLocks noGrp="1"/>
          </p:cNvSpPr>
          <p:nvPr>
            <p:ph type="body" sz="quarter" idx="28"/>
            <p:custDataLst>
              <p:tags r:id="rId2"/>
            </p:custDataLst>
          </p:nvPr>
        </p:nvSpPr>
        <p:spPr bwMode="ltGray">
          <a:xfrm>
            <a:off x="838200" y="5420785"/>
            <a:ext cx="3151717" cy="1435100"/>
          </a:xfrm>
          <a:prstGeom prst="rect">
            <a:avLst/>
          </a:prstGeom>
          <a:solidFill>
            <a:schemeClr val="accent5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CB345836-8C61-487F-8AAB-ED6C703F5E95}"/>
              </a:ext>
            </a:extLst>
          </p:cNvPr>
          <p:cNvSpPr>
            <a:spLocks noGrp="1"/>
          </p:cNvSpPr>
          <p:nvPr>
            <p:ph type="body" sz="quarter" idx="29"/>
            <p:custDataLst>
              <p:tags r:id="rId3"/>
            </p:custDataLst>
          </p:nvPr>
        </p:nvSpPr>
        <p:spPr bwMode="ltGray">
          <a:xfrm>
            <a:off x="4458143" y="5420785"/>
            <a:ext cx="3146784" cy="1435100"/>
          </a:xfrm>
          <a:prstGeom prst="rect">
            <a:avLst/>
          </a:prstGeom>
          <a:solidFill>
            <a:schemeClr val="accent2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6DA96025-07F4-474B-9869-C78EF94A90D6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4"/>
            </p:custDataLst>
          </p:nvPr>
        </p:nvSpPr>
        <p:spPr bwMode="ltGray">
          <a:xfrm>
            <a:off x="8073153" y="5420785"/>
            <a:ext cx="3146784" cy="1435100"/>
          </a:xfrm>
          <a:prstGeom prst="rect">
            <a:avLst/>
          </a:prstGeom>
          <a:solidFill>
            <a:schemeClr val="accent3"/>
          </a:solidFill>
        </p:spPr>
        <p:txBody>
          <a:bodyPr lIns="108000" tIns="144000" rIns="108000" bIns="144000"/>
          <a:lstStyle>
            <a:lvl1pPr marL="0" indent="0">
              <a:buNone/>
              <a:defRPr sz="1467">
                <a:solidFill>
                  <a:schemeClr val="bg1"/>
                </a:solidFill>
              </a:defRPr>
            </a:lvl1pPr>
            <a:lvl2pPr marL="239994" indent="0">
              <a:buNone/>
              <a:defRPr/>
            </a:lvl2pPr>
            <a:lvl3pPr marL="479988" indent="0">
              <a:buNone/>
              <a:defRPr/>
            </a:lvl3pPr>
            <a:lvl4pPr marL="719982" indent="0">
              <a:buNone/>
              <a:defRPr/>
            </a:lvl4pPr>
            <a:lvl5pPr marL="9599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8147E6AA-3FBB-438D-9EFE-FDBFAD849449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 bwMode="white">
          <a:xfrm>
            <a:off x="4637825" y="5954185"/>
            <a:ext cx="2833981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B9152D0C-5F85-42A1-999B-28A18ECAB608}"/>
              </a:ext>
            </a:extLst>
          </p:cNvPr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 bwMode="white">
          <a:xfrm>
            <a:off x="972063" y="5954183"/>
            <a:ext cx="2817183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FFA9E4E4-497C-4399-AD2A-5EE51F896DE0}"/>
              </a:ext>
            </a:extLst>
          </p:cNvPr>
          <p:cNvSpPr>
            <a:spLocks noGrp="1"/>
          </p:cNvSpPr>
          <p:nvPr>
            <p:ph type="body" sz="quarter" idx="25"/>
            <p:custDataLst>
              <p:tags r:id="rId7"/>
            </p:custDataLst>
          </p:nvPr>
        </p:nvSpPr>
        <p:spPr bwMode="white">
          <a:xfrm>
            <a:off x="8231650" y="5954185"/>
            <a:ext cx="2833981" cy="80856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105521D-BE6D-46CC-B7FB-C34E9B90F7D9}"/>
              </a:ext>
            </a:extLst>
          </p:cNvPr>
          <p:cNvSpPr>
            <a:spLocks noGrp="1"/>
          </p:cNvSpPr>
          <p:nvPr>
            <p:ph type="sldNum" sz="quarter" idx="27"/>
            <p:custDataLst>
              <p:tags r:id="rId8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8ACD75-F022-477B-8B65-BDCF794B7281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9529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435785-FB76-43F0-8B41-9AB8D13E795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386254-98EC-493A-A0E5-0D0AC31D6AC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715500" y="6406096"/>
            <a:ext cx="1522413" cy="265634"/>
          </a:xfrm>
          <a:prstGeom prst="rect">
            <a:avLst/>
          </a:prstGeom>
        </p:spPr>
        <p:txBody>
          <a:bodyPr/>
          <a:lstStyle>
            <a:lvl1pPr>
              <a:defRPr lang="en-GB" dirty="0"/>
            </a:lvl1pPr>
          </a:lstStyle>
          <a:p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7F52F9-BF32-4B55-B98D-418D7482ECA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F28E64-E408-47AD-A2F9-F204E2B0EE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FF95F09-154E-4DA4-B343-81FEC9916E9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D35AB2B-D5F1-4626-989C-A7708910486D}"/>
              </a:ext>
            </a:extLst>
          </p:cNvPr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844550" y="1465263"/>
            <a:ext cx="10496550" cy="450056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78871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nfobox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>
            <a:extLst>
              <a:ext uri="{FF2B5EF4-FFF2-40B4-BE49-F238E27FC236}">
                <a16:creationId xmlns:a16="http://schemas.microsoft.com/office/drawing/2014/main" id="{9E96F573-8832-474C-B662-A7336475B63A}"/>
              </a:ext>
            </a:extLst>
          </p:cNvPr>
          <p:cNvSpPr/>
          <p:nvPr>
            <p:custDataLst>
              <p:tags r:id="rId1"/>
            </p:custDataLst>
          </p:nvPr>
        </p:nvSpPr>
        <p:spPr bwMode="ltGray">
          <a:xfrm>
            <a:off x="836861" y="3103530"/>
            <a:ext cx="11364680" cy="1817159"/>
          </a:xfrm>
          <a:prstGeom prst="rect">
            <a:avLst/>
          </a:prstGeom>
          <a:solidFill>
            <a:srgbClr val="14285C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FF3AD00-4673-4E22-B11D-14FFB84BE8E0}"/>
              </a:ext>
            </a:extLst>
          </p:cNvPr>
          <p:cNvSpPr>
            <a:spLocks noGrp="1"/>
          </p:cNvSpPr>
          <p:nvPr>
            <p:ph type="body" sz="quarter" idx="34"/>
            <p:custDataLst>
              <p:tags r:id="rId2"/>
            </p:custDataLst>
          </p:nvPr>
        </p:nvSpPr>
        <p:spPr bwMode="white">
          <a:xfrm>
            <a:off x="6464300" y="3276600"/>
            <a:ext cx="4876800" cy="1473200"/>
          </a:xfrm>
        </p:spPr>
        <p:txBody>
          <a:bodyPr/>
          <a:lstStyle>
            <a:lvl1pPr>
              <a:spcBef>
                <a:spcPts val="400"/>
              </a:spcBef>
              <a:defRPr sz="140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2pPr>
            <a:lvl3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3pPr>
            <a:lvl4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4pPr>
            <a:lvl5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7E2056-4F56-45E0-9B87-B868C0F937D3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3"/>
            </p:custDataLst>
          </p:nvPr>
        </p:nvSpPr>
        <p:spPr bwMode="white">
          <a:xfrm>
            <a:off x="1219200" y="3276600"/>
            <a:ext cx="4803775" cy="1473200"/>
          </a:xfrm>
        </p:spPr>
        <p:txBody>
          <a:bodyPr/>
          <a:lstStyle>
            <a:lvl1pPr>
              <a:spcBef>
                <a:spcPts val="400"/>
              </a:spcBef>
              <a:defRPr sz="140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2pPr>
            <a:lvl3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3pPr>
            <a:lvl4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4pPr>
            <a:lvl5pPr>
              <a:spcBef>
                <a:spcPts val="200"/>
              </a:spcBef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D45453-DCE1-A243-87C6-8E4AF529CD5B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838855" y="1452600"/>
            <a:ext cx="10516284" cy="1439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6C14576-FA41-4BE1-ABC2-9635741C6B73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F850985-CCE2-42A4-81F3-146D40B0A6D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5B6E5B3-327C-4860-8A03-9C337E1AEED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4154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nfobox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D3B069A-3CBD-384C-82DA-EF1A839F24E0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838855" y="1452600"/>
            <a:ext cx="10516284" cy="1439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6" name="Rechteck">
            <a:extLst>
              <a:ext uri="{FF2B5EF4-FFF2-40B4-BE49-F238E27FC236}">
                <a16:creationId xmlns:a16="http://schemas.microsoft.com/office/drawing/2014/main" id="{9669CC01-471D-8B47-AD5D-A2814388B9A2}"/>
              </a:ext>
            </a:extLst>
          </p:cNvPr>
          <p:cNvSpPr/>
          <p:nvPr>
            <p:custDataLst>
              <p:tags r:id="rId2"/>
            </p:custDataLst>
          </p:nvPr>
        </p:nvSpPr>
        <p:spPr bwMode="ltGray">
          <a:xfrm>
            <a:off x="838202" y="3103530"/>
            <a:ext cx="11353087" cy="3009636"/>
          </a:xfrm>
          <a:prstGeom prst="rect">
            <a:avLst/>
          </a:prstGeom>
          <a:solidFill>
            <a:srgbClr val="14285C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4118A14-0FE3-AB4F-AC6E-1F8C780F3F0F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 bwMode="white">
          <a:xfrm>
            <a:off x="1219200" y="3276600"/>
            <a:ext cx="4803775" cy="261317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200"/>
              </a:spcBef>
              <a:defRPr sz="1400" b="0" i="0">
                <a:solidFill>
                  <a:schemeClr val="bg1"/>
                </a:solidFill>
                <a:latin typeface="+mn-lt"/>
              </a:defRPr>
            </a:lvl2pPr>
            <a:lvl3pPr>
              <a:spcBef>
                <a:spcPts val="200"/>
              </a:spcBef>
              <a:defRPr sz="1100" b="0" i="0">
                <a:solidFill>
                  <a:schemeClr val="bg1"/>
                </a:solidFill>
                <a:latin typeface="+mn-lt"/>
              </a:defRPr>
            </a:lvl3pPr>
            <a:lvl4pPr>
              <a:spcBef>
                <a:spcPts val="200"/>
              </a:spcBef>
              <a:defRPr sz="1100" b="0" i="0">
                <a:solidFill>
                  <a:schemeClr val="bg1"/>
                </a:solidFill>
                <a:latin typeface="+mn-lt"/>
              </a:defRPr>
            </a:lvl4pPr>
            <a:lvl5pPr>
              <a:spcBef>
                <a:spcPts val="200"/>
              </a:spcBef>
              <a:defRPr sz="1100" b="0" i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1C2CA00-881C-8A46-AF2F-931070638724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 bwMode="white">
          <a:xfrm>
            <a:off x="6468475" y="3276600"/>
            <a:ext cx="4883717" cy="261317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400" b="0" i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200"/>
              </a:spcBef>
              <a:defRPr sz="1400" b="0" i="0">
                <a:solidFill>
                  <a:schemeClr val="bg1"/>
                </a:solidFill>
                <a:latin typeface="+mn-lt"/>
              </a:defRPr>
            </a:lvl2pPr>
            <a:lvl3pPr>
              <a:spcBef>
                <a:spcPts val="200"/>
              </a:spcBef>
              <a:defRPr sz="1100" b="0" i="0">
                <a:solidFill>
                  <a:schemeClr val="bg1"/>
                </a:solidFill>
                <a:latin typeface="+mn-lt"/>
              </a:defRPr>
            </a:lvl3pPr>
            <a:lvl4pPr>
              <a:spcBef>
                <a:spcPts val="200"/>
              </a:spcBef>
              <a:defRPr sz="1100" b="0" i="0">
                <a:solidFill>
                  <a:schemeClr val="bg1"/>
                </a:solidFill>
                <a:latin typeface="+mn-lt"/>
              </a:defRPr>
            </a:lvl4pPr>
            <a:lvl5pPr>
              <a:spcBef>
                <a:spcPts val="200"/>
              </a:spcBef>
              <a:defRPr sz="1100" b="0" i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A7CC882-8F2A-467D-975B-7B53ADA7CCB1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0091144-E815-495A-953B-DEF9E09AA20B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6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D1D8CE-868F-4B0B-9478-AD92226BAA5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39758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nfobox breit mit 3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D3B069A-3CBD-384C-82DA-EF1A839F24E0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838855" y="1452600"/>
            <a:ext cx="10516284" cy="1439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6" name="Rechteck">
            <a:extLst>
              <a:ext uri="{FF2B5EF4-FFF2-40B4-BE49-F238E27FC236}">
                <a16:creationId xmlns:a16="http://schemas.microsoft.com/office/drawing/2014/main" id="{9669CC01-471D-8B47-AD5D-A2814388B9A2}"/>
              </a:ext>
            </a:extLst>
          </p:cNvPr>
          <p:cNvSpPr/>
          <p:nvPr>
            <p:custDataLst>
              <p:tags r:id="rId2"/>
            </p:custDataLst>
          </p:nvPr>
        </p:nvSpPr>
        <p:spPr bwMode="ltGray">
          <a:xfrm>
            <a:off x="838202" y="3103530"/>
            <a:ext cx="11353087" cy="3009636"/>
          </a:xfrm>
          <a:prstGeom prst="rect">
            <a:avLst/>
          </a:prstGeom>
          <a:solidFill>
            <a:srgbClr val="14285C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A7CC882-8F2A-467D-975B-7B53ADA7CCB1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0091144-E815-495A-953B-DEF9E09AA20B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Bildplatzhalter 34">
            <a:extLst>
              <a:ext uri="{FF2B5EF4-FFF2-40B4-BE49-F238E27FC236}">
                <a16:creationId xmlns:a16="http://schemas.microsoft.com/office/drawing/2014/main" id="{F1BAEAB9-CDD8-4FAA-9674-E77524B0022C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5"/>
            </p:custDataLst>
          </p:nvPr>
        </p:nvSpPr>
        <p:spPr>
          <a:xfrm>
            <a:off x="1435491" y="3437456"/>
            <a:ext cx="3060000" cy="235374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16" name="Bildplatzhalter 34">
            <a:extLst>
              <a:ext uri="{FF2B5EF4-FFF2-40B4-BE49-F238E27FC236}">
                <a16:creationId xmlns:a16="http://schemas.microsoft.com/office/drawing/2014/main" id="{40C74021-AAB9-4E91-8650-7F6EEB78962A}"/>
              </a:ext>
            </a:extLst>
          </p:cNvPr>
          <p:cNvSpPr>
            <a:spLocks noGrp="1"/>
          </p:cNvSpPr>
          <p:nvPr>
            <p:ph type="pic" sz="quarter" idx="33"/>
            <p:custDataLst>
              <p:tags r:id="rId6"/>
            </p:custDataLst>
          </p:nvPr>
        </p:nvSpPr>
        <p:spPr>
          <a:xfrm>
            <a:off x="4858115" y="3437456"/>
            <a:ext cx="3060000" cy="235374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18" name="Bildplatzhalter 34">
            <a:extLst>
              <a:ext uri="{FF2B5EF4-FFF2-40B4-BE49-F238E27FC236}">
                <a16:creationId xmlns:a16="http://schemas.microsoft.com/office/drawing/2014/main" id="{76D1915D-05CF-4857-9C84-09040FD08447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7"/>
            </p:custDataLst>
          </p:nvPr>
        </p:nvSpPr>
        <p:spPr>
          <a:xfrm>
            <a:off x="8280739" y="3437456"/>
            <a:ext cx="3060000" cy="235374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1627EB-2409-47D4-B956-CEACB038CC6E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58596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nfobox breit mit 4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D3B069A-3CBD-384C-82DA-EF1A839F24E0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838855" y="1452600"/>
            <a:ext cx="10516284" cy="1439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6" name="Rechteck">
            <a:extLst>
              <a:ext uri="{FF2B5EF4-FFF2-40B4-BE49-F238E27FC236}">
                <a16:creationId xmlns:a16="http://schemas.microsoft.com/office/drawing/2014/main" id="{9669CC01-471D-8B47-AD5D-A2814388B9A2}"/>
              </a:ext>
            </a:extLst>
          </p:cNvPr>
          <p:cNvSpPr/>
          <p:nvPr>
            <p:custDataLst>
              <p:tags r:id="rId2"/>
            </p:custDataLst>
          </p:nvPr>
        </p:nvSpPr>
        <p:spPr bwMode="ltGray">
          <a:xfrm>
            <a:off x="838202" y="3103530"/>
            <a:ext cx="11353087" cy="3009636"/>
          </a:xfrm>
          <a:prstGeom prst="rect">
            <a:avLst/>
          </a:prstGeom>
          <a:solidFill>
            <a:srgbClr val="14285C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A7CC882-8F2A-467D-975B-7B53ADA7CCB1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0091144-E815-495A-953B-DEF9E09AA20B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Bildplatzhalter 34">
            <a:extLst>
              <a:ext uri="{FF2B5EF4-FFF2-40B4-BE49-F238E27FC236}">
                <a16:creationId xmlns:a16="http://schemas.microsoft.com/office/drawing/2014/main" id="{288E74B8-5C17-436D-972A-8C8D3E61230D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5"/>
            </p:custDataLst>
          </p:nvPr>
        </p:nvSpPr>
        <p:spPr>
          <a:xfrm>
            <a:off x="1435491" y="3437456"/>
            <a:ext cx="2232000" cy="235374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14" name="Bildplatzhalter 34">
            <a:extLst>
              <a:ext uri="{FF2B5EF4-FFF2-40B4-BE49-F238E27FC236}">
                <a16:creationId xmlns:a16="http://schemas.microsoft.com/office/drawing/2014/main" id="{A61F7B3C-D520-4DAF-A097-CE8C40C1E2B0}"/>
              </a:ext>
            </a:extLst>
          </p:cNvPr>
          <p:cNvSpPr>
            <a:spLocks noGrp="1"/>
          </p:cNvSpPr>
          <p:nvPr>
            <p:ph type="pic" sz="quarter" idx="33"/>
            <p:custDataLst>
              <p:tags r:id="rId6"/>
            </p:custDataLst>
          </p:nvPr>
        </p:nvSpPr>
        <p:spPr>
          <a:xfrm>
            <a:off x="3993240" y="3437456"/>
            <a:ext cx="2232000" cy="235374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15" name="Bildplatzhalter 34">
            <a:extLst>
              <a:ext uri="{FF2B5EF4-FFF2-40B4-BE49-F238E27FC236}">
                <a16:creationId xmlns:a16="http://schemas.microsoft.com/office/drawing/2014/main" id="{17E45E03-AADA-4F26-9DA3-AB85C23C7D85}"/>
              </a:ext>
            </a:extLst>
          </p:cNvPr>
          <p:cNvSpPr>
            <a:spLocks noGrp="1"/>
          </p:cNvSpPr>
          <p:nvPr>
            <p:ph type="pic" sz="quarter" idx="34"/>
            <p:custDataLst>
              <p:tags r:id="rId7"/>
            </p:custDataLst>
          </p:nvPr>
        </p:nvSpPr>
        <p:spPr>
          <a:xfrm>
            <a:off x="9108739" y="3437456"/>
            <a:ext cx="2232000" cy="235374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12" name="Bildplatzhalter 34">
            <a:extLst>
              <a:ext uri="{FF2B5EF4-FFF2-40B4-BE49-F238E27FC236}">
                <a16:creationId xmlns:a16="http://schemas.microsoft.com/office/drawing/2014/main" id="{8EEA81BF-4FFC-4C19-822F-FAA50F221796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8"/>
            </p:custDataLst>
          </p:nvPr>
        </p:nvSpPr>
        <p:spPr>
          <a:xfrm>
            <a:off x="6550989" y="3437456"/>
            <a:ext cx="2232000" cy="235374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C2FA29-C7D9-4E75-B413-33F84B3A7E3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04490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-Komb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93685B88-1FB9-4FB5-BF08-91DFDF7441E1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1"/>
            </p:custDataLst>
          </p:nvPr>
        </p:nvSpPr>
        <p:spPr bwMode="gray">
          <a:xfrm>
            <a:off x="4900560" y="-26043"/>
            <a:ext cx="7308000" cy="6912000"/>
          </a:xfrm>
          <a:custGeom>
            <a:avLst/>
            <a:gdLst>
              <a:gd name="connsiteX0" fmla="*/ 0 w 14983580"/>
              <a:gd name="connsiteY0" fmla="*/ 0 h 13716000"/>
              <a:gd name="connsiteX1" fmla="*/ 14983580 w 14983580"/>
              <a:gd name="connsiteY1" fmla="*/ 0 h 13716000"/>
              <a:gd name="connsiteX2" fmla="*/ 14983580 w 14983580"/>
              <a:gd name="connsiteY2" fmla="*/ 13716000 h 13716000"/>
              <a:gd name="connsiteX3" fmla="*/ 0 w 14983580"/>
              <a:gd name="connsiteY3" fmla="*/ 13716000 h 13716000"/>
              <a:gd name="connsiteX4" fmla="*/ 0 w 14983580"/>
              <a:gd name="connsiteY4" fmla="*/ 0 h 13716000"/>
              <a:gd name="connsiteX0" fmla="*/ 6415790 w 14983580"/>
              <a:gd name="connsiteY0" fmla="*/ 0 h 13730990"/>
              <a:gd name="connsiteX1" fmla="*/ 14983580 w 14983580"/>
              <a:gd name="connsiteY1" fmla="*/ 14990 h 13730990"/>
              <a:gd name="connsiteX2" fmla="*/ 14983580 w 14983580"/>
              <a:gd name="connsiteY2" fmla="*/ 13730990 h 13730990"/>
              <a:gd name="connsiteX3" fmla="*/ 0 w 14983580"/>
              <a:gd name="connsiteY3" fmla="*/ 13730990 h 13730990"/>
              <a:gd name="connsiteX4" fmla="*/ 6415790 w 14983580"/>
              <a:gd name="connsiteY4" fmla="*/ 0 h 13730990"/>
              <a:gd name="connsiteX0" fmla="*/ 6817788 w 15385578"/>
              <a:gd name="connsiteY0" fmla="*/ 0 h 13730990"/>
              <a:gd name="connsiteX1" fmla="*/ 15385578 w 15385578"/>
              <a:gd name="connsiteY1" fmla="*/ 14990 h 13730990"/>
              <a:gd name="connsiteX2" fmla="*/ 15385578 w 15385578"/>
              <a:gd name="connsiteY2" fmla="*/ 13730990 h 13730990"/>
              <a:gd name="connsiteX3" fmla="*/ 0 w 15385578"/>
              <a:gd name="connsiteY3" fmla="*/ 13730990 h 13730990"/>
              <a:gd name="connsiteX4" fmla="*/ 6817788 w 15385578"/>
              <a:gd name="connsiteY4" fmla="*/ 0 h 13730990"/>
              <a:gd name="connsiteX0" fmla="*/ 6817788 w 15385578"/>
              <a:gd name="connsiteY0" fmla="*/ 30661 h 13761651"/>
              <a:gd name="connsiteX1" fmla="*/ 15385578 w 15385578"/>
              <a:gd name="connsiteY1" fmla="*/ 0 h 13761651"/>
              <a:gd name="connsiteX2" fmla="*/ 15385578 w 15385578"/>
              <a:gd name="connsiteY2" fmla="*/ 13761651 h 13761651"/>
              <a:gd name="connsiteX3" fmla="*/ 0 w 15385578"/>
              <a:gd name="connsiteY3" fmla="*/ 13761651 h 13761651"/>
              <a:gd name="connsiteX4" fmla="*/ 6817788 w 15385578"/>
              <a:gd name="connsiteY4" fmla="*/ 30661 h 13761651"/>
              <a:gd name="connsiteX0" fmla="*/ 6817788 w 15385578"/>
              <a:gd name="connsiteY0" fmla="*/ 228 h 13731218"/>
              <a:gd name="connsiteX1" fmla="*/ 15385578 w 15385578"/>
              <a:gd name="connsiteY1" fmla="*/ 0 h 13731218"/>
              <a:gd name="connsiteX2" fmla="*/ 15385578 w 15385578"/>
              <a:gd name="connsiteY2" fmla="*/ 13731218 h 13731218"/>
              <a:gd name="connsiteX3" fmla="*/ 0 w 15385578"/>
              <a:gd name="connsiteY3" fmla="*/ 13731218 h 13731218"/>
              <a:gd name="connsiteX4" fmla="*/ 6817788 w 15385578"/>
              <a:gd name="connsiteY4" fmla="*/ 228 h 13731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5578" h="13731218">
                <a:moveTo>
                  <a:pt x="6817788" y="228"/>
                </a:moveTo>
                <a:lnTo>
                  <a:pt x="15385578" y="0"/>
                </a:lnTo>
                <a:lnTo>
                  <a:pt x="15385578" y="13731218"/>
                </a:lnTo>
                <a:lnTo>
                  <a:pt x="0" y="13731218"/>
                </a:lnTo>
                <a:lnTo>
                  <a:pt x="6817788" y="228"/>
                </a:lnTo>
                <a:close/>
              </a:path>
            </a:pathLst>
          </a:custGeom>
        </p:spPr>
        <p:txBody>
          <a:bodyPr anchor="t"/>
          <a:lstStyle>
            <a:lvl1pPr marL="4860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B29F9CD-67E6-420F-B75D-295A8A7C003A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838202" y="1797052"/>
            <a:ext cx="5079566" cy="4083049"/>
          </a:xfrm>
          <a:custGeom>
            <a:avLst/>
            <a:gdLst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75767 w 5075767"/>
              <a:gd name="connsiteY2" fmla="*/ 4083049 h 4083049"/>
              <a:gd name="connsiteX3" fmla="*/ 0 w 5075767"/>
              <a:gd name="connsiteY3" fmla="*/ 4083049 h 4083049"/>
              <a:gd name="connsiteX4" fmla="*/ 0 w 5075767"/>
              <a:gd name="connsiteY4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75767 w 5075767"/>
              <a:gd name="connsiteY2" fmla="*/ 408304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5075767 w 5075767"/>
              <a:gd name="connsiteY3" fmla="*/ 4083049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923"/>
              <a:gd name="connsiteY0" fmla="*/ 0 h 4083049"/>
              <a:gd name="connsiteX1" fmla="*/ 5075767 w 5075923"/>
              <a:gd name="connsiteY1" fmla="*/ 0 h 4083049"/>
              <a:gd name="connsiteX2" fmla="*/ 5068613 w 5075923"/>
              <a:gd name="connsiteY2" fmla="*/ 2501679 h 4083049"/>
              <a:gd name="connsiteX3" fmla="*/ 5075767 w 5075923"/>
              <a:gd name="connsiteY3" fmla="*/ 4083049 h 4083049"/>
              <a:gd name="connsiteX4" fmla="*/ 4133192 w 5075923"/>
              <a:gd name="connsiteY4" fmla="*/ 4078231 h 4083049"/>
              <a:gd name="connsiteX5" fmla="*/ 0 w 5075923"/>
              <a:gd name="connsiteY5" fmla="*/ 4083049 h 4083049"/>
              <a:gd name="connsiteX6" fmla="*/ 0 w 5075923"/>
              <a:gd name="connsiteY6" fmla="*/ 0 h 4083049"/>
              <a:gd name="connsiteX0" fmla="*/ 0 w 5075923"/>
              <a:gd name="connsiteY0" fmla="*/ 0 h 4083049"/>
              <a:gd name="connsiteX1" fmla="*/ 5075767 w 5075923"/>
              <a:gd name="connsiteY1" fmla="*/ 0 h 4083049"/>
              <a:gd name="connsiteX2" fmla="*/ 5068613 w 5075923"/>
              <a:gd name="connsiteY2" fmla="*/ 2501679 h 4083049"/>
              <a:gd name="connsiteX3" fmla="*/ 5075767 w 5075923"/>
              <a:gd name="connsiteY3" fmla="*/ 4083049 h 4083049"/>
              <a:gd name="connsiteX4" fmla="*/ 4133192 w 5075923"/>
              <a:gd name="connsiteY4" fmla="*/ 4078231 h 4083049"/>
              <a:gd name="connsiteX5" fmla="*/ 0 w 5075923"/>
              <a:gd name="connsiteY5" fmla="*/ 4083049 h 4083049"/>
              <a:gd name="connsiteX6" fmla="*/ 0 w 5075923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286092"/>
              <a:gd name="connsiteY0" fmla="*/ 0 h 4114581"/>
              <a:gd name="connsiteX1" fmla="*/ 5075767 w 5286092"/>
              <a:gd name="connsiteY1" fmla="*/ 0 h 4114581"/>
              <a:gd name="connsiteX2" fmla="*/ 5068613 w 5286092"/>
              <a:gd name="connsiteY2" fmla="*/ 2501679 h 4114581"/>
              <a:gd name="connsiteX3" fmla="*/ 5285974 w 5286092"/>
              <a:gd name="connsiteY3" fmla="*/ 4114581 h 4114581"/>
              <a:gd name="connsiteX4" fmla="*/ 4133192 w 5286092"/>
              <a:gd name="connsiteY4" fmla="*/ 4078231 h 4114581"/>
              <a:gd name="connsiteX5" fmla="*/ 0 w 5286092"/>
              <a:gd name="connsiteY5" fmla="*/ 4083049 h 4114581"/>
              <a:gd name="connsiteX6" fmla="*/ 0 w 5286092"/>
              <a:gd name="connsiteY6" fmla="*/ 0 h 4114581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9566"/>
              <a:gd name="connsiteY0" fmla="*/ 0 h 4083049"/>
              <a:gd name="connsiteX1" fmla="*/ 5075767 w 5079566"/>
              <a:gd name="connsiteY1" fmla="*/ 0 h 4083049"/>
              <a:gd name="connsiteX2" fmla="*/ 5079123 w 5079566"/>
              <a:gd name="connsiteY2" fmla="*/ 2312493 h 4083049"/>
              <a:gd name="connsiteX3" fmla="*/ 4133192 w 5079566"/>
              <a:gd name="connsiteY3" fmla="*/ 4078231 h 4083049"/>
              <a:gd name="connsiteX4" fmla="*/ 0 w 5079566"/>
              <a:gd name="connsiteY4" fmla="*/ 4083049 h 4083049"/>
              <a:gd name="connsiteX5" fmla="*/ 0 w 5079566"/>
              <a:gd name="connsiteY5" fmla="*/ 0 h 408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79566" h="4083049">
                <a:moveTo>
                  <a:pt x="0" y="0"/>
                </a:moveTo>
                <a:lnTo>
                  <a:pt x="5075767" y="0"/>
                </a:lnTo>
                <a:cubicBezTo>
                  <a:pt x="5073382" y="833893"/>
                  <a:pt x="5081508" y="1478600"/>
                  <a:pt x="5079123" y="2312493"/>
                </a:cubicBezTo>
                <a:lnTo>
                  <a:pt x="4133192" y="4078231"/>
                </a:lnTo>
                <a:lnTo>
                  <a:pt x="0" y="4083049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6B8F30-7F3C-1E4E-87CF-D569AACE68BC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DCB4053-535D-E042-A6D5-68E70EAB654A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4"/>
            </p:custDataLst>
          </p:nvPr>
        </p:nvSpPr>
        <p:spPr>
          <a:xfrm>
            <a:off x="838199" y="1452600"/>
            <a:ext cx="5075636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n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2" indent="0">
              <a:buNone/>
              <a:defRPr sz="1600" b="1"/>
            </a:lvl5pPr>
            <a:lvl6pPr marL="2285828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Univers" panose="020B0503020202020204" pitchFamily="34" charset="0"/>
              <a:buNone/>
              <a:tabLst/>
              <a:defRPr/>
            </a:pPr>
            <a:r>
              <a:rPr lang="en-GB"/>
              <a:t>Untertitel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36477A2-4192-634F-86C3-9443596864D5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6F1AA-19E6-40C2-844D-173C19BA6D2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70356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-Komb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A5EF2CB-F192-2844-90A1-C806B9D5036D}"/>
              </a:ext>
            </a:extLst>
          </p:cNvPr>
          <p:cNvSpPr/>
          <p:nvPr>
            <p:custDataLst>
              <p:tags r:id="rId1"/>
            </p:custDataLst>
          </p:nvPr>
        </p:nvSpPr>
        <p:spPr bwMode="ltGray">
          <a:xfrm>
            <a:off x="0" y="1956395"/>
            <a:ext cx="11340739" cy="4217829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0F2CFBD2-59DC-4D5F-9C3D-C869BFDCB2AF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2"/>
            </p:custDataLst>
          </p:nvPr>
        </p:nvSpPr>
        <p:spPr bwMode="white">
          <a:xfrm>
            <a:off x="838201" y="2796011"/>
            <a:ext cx="5180895" cy="3169814"/>
          </a:xfrm>
          <a:custGeom>
            <a:avLst/>
            <a:gdLst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75767 w 5075767"/>
              <a:gd name="connsiteY2" fmla="*/ 4083049 h 4083049"/>
              <a:gd name="connsiteX3" fmla="*/ 0 w 5075767"/>
              <a:gd name="connsiteY3" fmla="*/ 4083049 h 4083049"/>
              <a:gd name="connsiteX4" fmla="*/ 0 w 5075767"/>
              <a:gd name="connsiteY4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75767 w 5075767"/>
              <a:gd name="connsiteY2" fmla="*/ 408304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5075767 w 5075767"/>
              <a:gd name="connsiteY3" fmla="*/ 4083049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923"/>
              <a:gd name="connsiteY0" fmla="*/ 0 h 4083049"/>
              <a:gd name="connsiteX1" fmla="*/ 5075767 w 5075923"/>
              <a:gd name="connsiteY1" fmla="*/ 0 h 4083049"/>
              <a:gd name="connsiteX2" fmla="*/ 5068613 w 5075923"/>
              <a:gd name="connsiteY2" fmla="*/ 2501679 h 4083049"/>
              <a:gd name="connsiteX3" fmla="*/ 5075767 w 5075923"/>
              <a:gd name="connsiteY3" fmla="*/ 4083049 h 4083049"/>
              <a:gd name="connsiteX4" fmla="*/ 4133192 w 5075923"/>
              <a:gd name="connsiteY4" fmla="*/ 4078231 h 4083049"/>
              <a:gd name="connsiteX5" fmla="*/ 0 w 5075923"/>
              <a:gd name="connsiteY5" fmla="*/ 4083049 h 4083049"/>
              <a:gd name="connsiteX6" fmla="*/ 0 w 5075923"/>
              <a:gd name="connsiteY6" fmla="*/ 0 h 4083049"/>
              <a:gd name="connsiteX0" fmla="*/ 0 w 5075923"/>
              <a:gd name="connsiteY0" fmla="*/ 0 h 4083049"/>
              <a:gd name="connsiteX1" fmla="*/ 5075767 w 5075923"/>
              <a:gd name="connsiteY1" fmla="*/ 0 h 4083049"/>
              <a:gd name="connsiteX2" fmla="*/ 5068613 w 5075923"/>
              <a:gd name="connsiteY2" fmla="*/ 2501679 h 4083049"/>
              <a:gd name="connsiteX3" fmla="*/ 5075767 w 5075923"/>
              <a:gd name="connsiteY3" fmla="*/ 4083049 h 4083049"/>
              <a:gd name="connsiteX4" fmla="*/ 4133192 w 5075923"/>
              <a:gd name="connsiteY4" fmla="*/ 4078231 h 4083049"/>
              <a:gd name="connsiteX5" fmla="*/ 0 w 5075923"/>
              <a:gd name="connsiteY5" fmla="*/ 4083049 h 4083049"/>
              <a:gd name="connsiteX6" fmla="*/ 0 w 5075923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286092"/>
              <a:gd name="connsiteY0" fmla="*/ 0 h 4114581"/>
              <a:gd name="connsiteX1" fmla="*/ 5075767 w 5286092"/>
              <a:gd name="connsiteY1" fmla="*/ 0 h 4114581"/>
              <a:gd name="connsiteX2" fmla="*/ 5068613 w 5286092"/>
              <a:gd name="connsiteY2" fmla="*/ 2501679 h 4114581"/>
              <a:gd name="connsiteX3" fmla="*/ 5285974 w 5286092"/>
              <a:gd name="connsiteY3" fmla="*/ 4114581 h 4114581"/>
              <a:gd name="connsiteX4" fmla="*/ 4133192 w 5286092"/>
              <a:gd name="connsiteY4" fmla="*/ 4078231 h 4114581"/>
              <a:gd name="connsiteX5" fmla="*/ 0 w 5286092"/>
              <a:gd name="connsiteY5" fmla="*/ 4083049 h 4114581"/>
              <a:gd name="connsiteX6" fmla="*/ 0 w 5286092"/>
              <a:gd name="connsiteY6" fmla="*/ 0 h 4114581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9566"/>
              <a:gd name="connsiteY0" fmla="*/ 0 h 4083049"/>
              <a:gd name="connsiteX1" fmla="*/ 5075767 w 5079566"/>
              <a:gd name="connsiteY1" fmla="*/ 0 h 4083049"/>
              <a:gd name="connsiteX2" fmla="*/ 5079123 w 5079566"/>
              <a:gd name="connsiteY2" fmla="*/ 2312493 h 4083049"/>
              <a:gd name="connsiteX3" fmla="*/ 4133192 w 5079566"/>
              <a:gd name="connsiteY3" fmla="*/ 4078231 h 4083049"/>
              <a:gd name="connsiteX4" fmla="*/ 0 w 5079566"/>
              <a:gd name="connsiteY4" fmla="*/ 4083049 h 4083049"/>
              <a:gd name="connsiteX5" fmla="*/ 0 w 5079566"/>
              <a:gd name="connsiteY5" fmla="*/ 0 h 4083049"/>
              <a:gd name="connsiteX0" fmla="*/ 0 w 5079566"/>
              <a:gd name="connsiteY0" fmla="*/ 0 h 4083049"/>
              <a:gd name="connsiteX1" fmla="*/ 5075767 w 5079566"/>
              <a:gd name="connsiteY1" fmla="*/ 0 h 4083049"/>
              <a:gd name="connsiteX2" fmla="*/ 5079123 w 5079566"/>
              <a:gd name="connsiteY2" fmla="*/ 2312493 h 4083049"/>
              <a:gd name="connsiteX3" fmla="*/ 4493590 w 5079566"/>
              <a:gd name="connsiteY3" fmla="*/ 4064317 h 4083049"/>
              <a:gd name="connsiteX4" fmla="*/ 0 w 5079566"/>
              <a:gd name="connsiteY4" fmla="*/ 4083049 h 4083049"/>
              <a:gd name="connsiteX5" fmla="*/ 0 w 5079566"/>
              <a:gd name="connsiteY5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826 w 5075767"/>
              <a:gd name="connsiteY2" fmla="*/ 2576873 h 4083049"/>
              <a:gd name="connsiteX3" fmla="*/ 4493590 w 5075767"/>
              <a:gd name="connsiteY3" fmla="*/ 4064317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75767" h="4083049">
                <a:moveTo>
                  <a:pt x="0" y="0"/>
                </a:moveTo>
                <a:lnTo>
                  <a:pt x="5075767" y="0"/>
                </a:lnTo>
                <a:cubicBezTo>
                  <a:pt x="5073382" y="833893"/>
                  <a:pt x="5071211" y="1742980"/>
                  <a:pt x="5068826" y="2576873"/>
                </a:cubicBezTo>
                <a:lnTo>
                  <a:pt x="4493590" y="4064317"/>
                </a:lnTo>
                <a:lnTo>
                  <a:pt x="0" y="4083049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7B24708-9F5F-CC4A-951E-D7167B92F5F5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 bwMode="white">
          <a:xfrm>
            <a:off x="851263" y="2227218"/>
            <a:ext cx="5162587" cy="559775"/>
          </a:xfrm>
          <a:prstGeom prst="rect">
            <a:avLst/>
          </a:prstGeom>
          <a:noFill/>
        </p:spPr>
        <p:txBody>
          <a:bodyPr/>
          <a:lstStyle>
            <a:lvl1pPr marL="0" indent="0">
              <a:spcBef>
                <a:spcPts val="0"/>
              </a:spcBef>
              <a:buNone/>
              <a:defRPr b="1" i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, zweizeilig</a:t>
            </a:r>
            <a:endParaRPr lang="en-GB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5830F2A-20AD-544B-ADF4-C4DCC43E698B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4"/>
            </p:custDataLst>
          </p:nvPr>
        </p:nvSpPr>
        <p:spPr bwMode="gray">
          <a:xfrm>
            <a:off x="5598851" y="1956395"/>
            <a:ext cx="5738397" cy="4217988"/>
          </a:xfrm>
          <a:custGeom>
            <a:avLst/>
            <a:gdLst>
              <a:gd name="connsiteX0" fmla="*/ 0 w 13543722"/>
              <a:gd name="connsiteY0" fmla="*/ 0 h 8435975"/>
              <a:gd name="connsiteX1" fmla="*/ 13543722 w 13543722"/>
              <a:gd name="connsiteY1" fmla="*/ 0 h 8435975"/>
              <a:gd name="connsiteX2" fmla="*/ 13543722 w 13543722"/>
              <a:gd name="connsiteY2" fmla="*/ 8435975 h 8435975"/>
              <a:gd name="connsiteX3" fmla="*/ 0 w 13543722"/>
              <a:gd name="connsiteY3" fmla="*/ 8435975 h 8435975"/>
              <a:gd name="connsiteX4" fmla="*/ 0 w 13543722"/>
              <a:gd name="connsiteY4" fmla="*/ 0 h 8435975"/>
              <a:gd name="connsiteX0" fmla="*/ 3949148 w 13543722"/>
              <a:gd name="connsiteY0" fmla="*/ 26504 h 8435975"/>
              <a:gd name="connsiteX1" fmla="*/ 13543722 w 13543722"/>
              <a:gd name="connsiteY1" fmla="*/ 0 h 8435975"/>
              <a:gd name="connsiteX2" fmla="*/ 13543722 w 13543722"/>
              <a:gd name="connsiteY2" fmla="*/ 8435975 h 8435975"/>
              <a:gd name="connsiteX3" fmla="*/ 0 w 13543722"/>
              <a:gd name="connsiteY3" fmla="*/ 8435975 h 8435975"/>
              <a:gd name="connsiteX4" fmla="*/ 3949148 w 13543722"/>
              <a:gd name="connsiteY4" fmla="*/ 26504 h 8435975"/>
              <a:gd name="connsiteX0" fmla="*/ 3962400 w 13543722"/>
              <a:gd name="connsiteY0" fmla="*/ 0 h 8435975"/>
              <a:gd name="connsiteX1" fmla="*/ 13543722 w 13543722"/>
              <a:gd name="connsiteY1" fmla="*/ 0 h 8435975"/>
              <a:gd name="connsiteX2" fmla="*/ 13543722 w 13543722"/>
              <a:gd name="connsiteY2" fmla="*/ 8435975 h 8435975"/>
              <a:gd name="connsiteX3" fmla="*/ 0 w 13543722"/>
              <a:gd name="connsiteY3" fmla="*/ 8435975 h 8435975"/>
              <a:gd name="connsiteX4" fmla="*/ 3962400 w 13543722"/>
              <a:gd name="connsiteY4" fmla="*/ 0 h 8435975"/>
              <a:gd name="connsiteX0" fmla="*/ 5008664 w 14589986"/>
              <a:gd name="connsiteY0" fmla="*/ 0 h 8435975"/>
              <a:gd name="connsiteX1" fmla="*/ 14589986 w 14589986"/>
              <a:gd name="connsiteY1" fmla="*/ 0 h 8435975"/>
              <a:gd name="connsiteX2" fmla="*/ 14589986 w 14589986"/>
              <a:gd name="connsiteY2" fmla="*/ 8435975 h 8435975"/>
              <a:gd name="connsiteX3" fmla="*/ 0 w 14589986"/>
              <a:gd name="connsiteY3" fmla="*/ 8435975 h 8435975"/>
              <a:gd name="connsiteX4" fmla="*/ 5008664 w 14589986"/>
              <a:gd name="connsiteY4" fmla="*/ 0 h 843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89986" h="8435975">
                <a:moveTo>
                  <a:pt x="5008664" y="0"/>
                </a:moveTo>
                <a:lnTo>
                  <a:pt x="14589986" y="0"/>
                </a:lnTo>
                <a:lnTo>
                  <a:pt x="14589986" y="8435975"/>
                </a:lnTo>
                <a:lnTo>
                  <a:pt x="0" y="8435975"/>
                </a:lnTo>
                <a:lnTo>
                  <a:pt x="5008664" y="0"/>
                </a:lnTo>
                <a:close/>
              </a:path>
            </a:pathLst>
          </a:custGeo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0F5E0A32-0A1C-F44E-92D5-2F8FECF9E67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ltGray">
          <a:xfrm>
            <a:off x="1" y="2091261"/>
            <a:ext cx="2070135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6C02CA-129D-48BD-860A-E6D61405DAE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80EF60A-C220-48F2-9964-8A47E9364482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7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03705E-2D6E-4132-8873-9044D4EE3C7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1572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-Komb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A5EF2CB-F192-2844-90A1-C806B9D5036D}"/>
              </a:ext>
            </a:extLst>
          </p:cNvPr>
          <p:cNvSpPr/>
          <p:nvPr>
            <p:custDataLst>
              <p:tags r:id="rId1"/>
            </p:custDataLst>
          </p:nvPr>
        </p:nvSpPr>
        <p:spPr bwMode="ltGray">
          <a:xfrm>
            <a:off x="0" y="3002143"/>
            <a:ext cx="11353800" cy="3172080"/>
          </a:xfrm>
          <a:prstGeom prst="rect">
            <a:avLst/>
          </a:prstGeom>
          <a:solidFill>
            <a:srgbClr val="1428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5830F2A-20AD-544B-ADF4-C4DCC43E698B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2"/>
            </p:custDataLst>
          </p:nvPr>
        </p:nvSpPr>
        <p:spPr bwMode="gray">
          <a:xfrm>
            <a:off x="6080080" y="3002143"/>
            <a:ext cx="5273720" cy="3172439"/>
          </a:xfrm>
          <a:custGeom>
            <a:avLst/>
            <a:gdLst>
              <a:gd name="connsiteX0" fmla="*/ 0 w 13543722"/>
              <a:gd name="connsiteY0" fmla="*/ 0 h 8435975"/>
              <a:gd name="connsiteX1" fmla="*/ 13543722 w 13543722"/>
              <a:gd name="connsiteY1" fmla="*/ 0 h 8435975"/>
              <a:gd name="connsiteX2" fmla="*/ 13543722 w 13543722"/>
              <a:gd name="connsiteY2" fmla="*/ 8435975 h 8435975"/>
              <a:gd name="connsiteX3" fmla="*/ 0 w 13543722"/>
              <a:gd name="connsiteY3" fmla="*/ 8435975 h 8435975"/>
              <a:gd name="connsiteX4" fmla="*/ 0 w 13543722"/>
              <a:gd name="connsiteY4" fmla="*/ 0 h 8435975"/>
              <a:gd name="connsiteX0" fmla="*/ 3949148 w 13543722"/>
              <a:gd name="connsiteY0" fmla="*/ 26504 h 8435975"/>
              <a:gd name="connsiteX1" fmla="*/ 13543722 w 13543722"/>
              <a:gd name="connsiteY1" fmla="*/ 0 h 8435975"/>
              <a:gd name="connsiteX2" fmla="*/ 13543722 w 13543722"/>
              <a:gd name="connsiteY2" fmla="*/ 8435975 h 8435975"/>
              <a:gd name="connsiteX3" fmla="*/ 0 w 13543722"/>
              <a:gd name="connsiteY3" fmla="*/ 8435975 h 8435975"/>
              <a:gd name="connsiteX4" fmla="*/ 3949148 w 13543722"/>
              <a:gd name="connsiteY4" fmla="*/ 26504 h 8435975"/>
              <a:gd name="connsiteX0" fmla="*/ 3962400 w 13543722"/>
              <a:gd name="connsiteY0" fmla="*/ 0 h 8435975"/>
              <a:gd name="connsiteX1" fmla="*/ 13543722 w 13543722"/>
              <a:gd name="connsiteY1" fmla="*/ 0 h 8435975"/>
              <a:gd name="connsiteX2" fmla="*/ 13543722 w 13543722"/>
              <a:gd name="connsiteY2" fmla="*/ 8435975 h 8435975"/>
              <a:gd name="connsiteX3" fmla="*/ 0 w 13543722"/>
              <a:gd name="connsiteY3" fmla="*/ 8435975 h 8435975"/>
              <a:gd name="connsiteX4" fmla="*/ 3962400 w 13543722"/>
              <a:gd name="connsiteY4" fmla="*/ 0 h 8435975"/>
              <a:gd name="connsiteX0" fmla="*/ 2992017 w 13543722"/>
              <a:gd name="connsiteY0" fmla="*/ 0 h 8435975"/>
              <a:gd name="connsiteX1" fmla="*/ 13543722 w 13543722"/>
              <a:gd name="connsiteY1" fmla="*/ 0 h 8435975"/>
              <a:gd name="connsiteX2" fmla="*/ 13543722 w 13543722"/>
              <a:gd name="connsiteY2" fmla="*/ 8435975 h 8435975"/>
              <a:gd name="connsiteX3" fmla="*/ 0 w 13543722"/>
              <a:gd name="connsiteY3" fmla="*/ 8435975 h 8435975"/>
              <a:gd name="connsiteX4" fmla="*/ 2992017 w 13543722"/>
              <a:gd name="connsiteY4" fmla="*/ 0 h 8435975"/>
              <a:gd name="connsiteX0" fmla="*/ 4113933 w 14665638"/>
              <a:gd name="connsiteY0" fmla="*/ 0 h 8453855"/>
              <a:gd name="connsiteX1" fmla="*/ 14665638 w 14665638"/>
              <a:gd name="connsiteY1" fmla="*/ 0 h 8453855"/>
              <a:gd name="connsiteX2" fmla="*/ 14665638 w 14665638"/>
              <a:gd name="connsiteY2" fmla="*/ 8435975 h 8453855"/>
              <a:gd name="connsiteX3" fmla="*/ 0 w 14665638"/>
              <a:gd name="connsiteY3" fmla="*/ 8453855 h 8453855"/>
              <a:gd name="connsiteX4" fmla="*/ 4113933 w 14665638"/>
              <a:gd name="connsiteY4" fmla="*/ 0 h 8453855"/>
              <a:gd name="connsiteX0" fmla="*/ 4113933 w 14665638"/>
              <a:gd name="connsiteY0" fmla="*/ 0 h 8435975"/>
              <a:gd name="connsiteX1" fmla="*/ 14665638 w 14665638"/>
              <a:gd name="connsiteY1" fmla="*/ 0 h 8435975"/>
              <a:gd name="connsiteX2" fmla="*/ 14665638 w 14665638"/>
              <a:gd name="connsiteY2" fmla="*/ 8435975 h 8435975"/>
              <a:gd name="connsiteX3" fmla="*/ 0 w 14665638"/>
              <a:gd name="connsiteY3" fmla="*/ 8431025 h 8435975"/>
              <a:gd name="connsiteX4" fmla="*/ 4113933 w 14665638"/>
              <a:gd name="connsiteY4" fmla="*/ 0 h 843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5638" h="8435975">
                <a:moveTo>
                  <a:pt x="4113933" y="0"/>
                </a:moveTo>
                <a:lnTo>
                  <a:pt x="14665638" y="0"/>
                </a:lnTo>
                <a:lnTo>
                  <a:pt x="14665638" y="8435975"/>
                </a:lnTo>
                <a:lnTo>
                  <a:pt x="0" y="8431025"/>
                </a:lnTo>
                <a:lnTo>
                  <a:pt x="4113933" y="0"/>
                </a:lnTo>
                <a:close/>
              </a:path>
            </a:pathLst>
          </a:custGeo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18D994FB-1331-324F-9F8B-2D23641C6396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838200" y="1452600"/>
            <a:ext cx="10502539" cy="1439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86A0DA8-0782-497F-95DB-3AEB8FE37858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8ED10AC-91EE-47A3-8985-CF4D2A9C81DC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5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4286477-357E-4125-89D7-FB06A098C323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6"/>
            </p:custDataLst>
          </p:nvPr>
        </p:nvSpPr>
        <p:spPr bwMode="white">
          <a:xfrm>
            <a:off x="838200" y="3106738"/>
            <a:ext cx="5184775" cy="285908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956CD7A-1785-43F6-9AF9-AED85FD55B8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65496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BFE90F3-3EB2-7E4A-9B74-06D81195261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123091" y="1749501"/>
            <a:ext cx="1931634" cy="16819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83A4027-111F-4897-BE31-9E3FD411FFD3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89A49D7-5BB9-415D-987F-30E9B8550ACB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3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3539F904-E3A0-4C13-AB55-DD1F69A2191E}"/>
              </a:ext>
            </a:extLst>
          </p:cNvPr>
          <p:cNvSpPr>
            <a:spLocks noGrp="1"/>
          </p:cNvSpPr>
          <p:nvPr>
            <p:ph type="body" sz="quarter" idx="42" hasCustomPrompt="1"/>
            <p:custDataLst>
              <p:tags r:id="rId4"/>
            </p:custDataLst>
          </p:nvPr>
        </p:nvSpPr>
        <p:spPr>
          <a:xfrm>
            <a:off x="5767457" y="1749501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7D4B7E9F-2518-4332-8C6E-007ADF7E7204}"/>
              </a:ext>
            </a:extLst>
          </p:cNvPr>
          <p:cNvSpPr>
            <a:spLocks noGrp="1"/>
          </p:cNvSpPr>
          <p:nvPr>
            <p:ph type="body" sz="quarter" idx="44" hasCustomPrompt="1"/>
            <p:custDataLst>
              <p:tags r:id="rId5"/>
            </p:custDataLst>
          </p:nvPr>
        </p:nvSpPr>
        <p:spPr>
          <a:xfrm>
            <a:off x="9414053" y="1749501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8DA22245-6CA6-4347-9762-088744E7C3FE}"/>
              </a:ext>
            </a:extLst>
          </p:cNvPr>
          <p:cNvSpPr>
            <a:spLocks noGrp="1"/>
          </p:cNvSpPr>
          <p:nvPr>
            <p:ph type="body" sz="quarter" idx="46" hasCustomPrompt="1"/>
            <p:custDataLst>
              <p:tags r:id="rId6"/>
            </p:custDataLst>
          </p:nvPr>
        </p:nvSpPr>
        <p:spPr>
          <a:xfrm>
            <a:off x="2123091" y="3834474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624FC1D6-6732-429D-B6E4-BB7AC89A17D8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7"/>
            </p:custDataLst>
          </p:nvPr>
        </p:nvSpPr>
        <p:spPr>
          <a:xfrm>
            <a:off x="5767457" y="3834474"/>
            <a:ext cx="1931634" cy="1681956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>
            <a:noAutofit/>
          </a:bodyPr>
          <a:lstStyle>
            <a:lvl1pPr>
              <a:defRPr lang="de-AT" sz="140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E19DBD08-ADAF-4B00-97D8-7341911A3060}"/>
              </a:ext>
            </a:extLst>
          </p:cNvPr>
          <p:cNvSpPr>
            <a:spLocks noGrp="1"/>
          </p:cNvSpPr>
          <p:nvPr>
            <p:ph type="body" sz="quarter" idx="50" hasCustomPrompt="1"/>
            <p:custDataLst>
              <p:tags r:id="rId8"/>
            </p:custDataLst>
          </p:nvPr>
        </p:nvSpPr>
        <p:spPr>
          <a:xfrm>
            <a:off x="9414053" y="3834474"/>
            <a:ext cx="1931634" cy="16819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AT" sz="140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00"/>
              </a:spcBef>
            </a:pPr>
            <a:r>
              <a:rPr lang="en-GB"/>
              <a:t>Text</a:t>
            </a:r>
            <a:endParaRPr lang="en-GB" dirty="0"/>
          </a:p>
        </p:txBody>
      </p:sp>
      <p:sp>
        <p:nvSpPr>
          <p:cNvPr id="23" name="Bildplatzhalter 12">
            <a:extLst>
              <a:ext uri="{FF2B5EF4-FFF2-40B4-BE49-F238E27FC236}">
                <a16:creationId xmlns:a16="http://schemas.microsoft.com/office/drawing/2014/main" id="{2DAA9E41-D083-4DDE-B5E9-040B2065777D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9"/>
            </p:custDataLst>
          </p:nvPr>
        </p:nvSpPr>
        <p:spPr>
          <a:xfrm>
            <a:off x="849640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4" name="Bildplatzhalter 12">
            <a:extLst>
              <a:ext uri="{FF2B5EF4-FFF2-40B4-BE49-F238E27FC236}">
                <a16:creationId xmlns:a16="http://schemas.microsoft.com/office/drawing/2014/main" id="{86A1D578-3CB2-4B5B-BA3F-B237C3488CC8}"/>
              </a:ext>
            </a:extLst>
          </p:cNvPr>
          <p:cNvSpPr>
            <a:spLocks noGrp="1"/>
          </p:cNvSpPr>
          <p:nvPr>
            <p:ph type="pic" sz="quarter" idx="49"/>
            <p:custDataLst>
              <p:tags r:id="rId10"/>
            </p:custDataLst>
          </p:nvPr>
        </p:nvSpPr>
        <p:spPr>
          <a:xfrm>
            <a:off x="849640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5" name="Bildplatzhalter 12">
            <a:extLst>
              <a:ext uri="{FF2B5EF4-FFF2-40B4-BE49-F238E27FC236}">
                <a16:creationId xmlns:a16="http://schemas.microsoft.com/office/drawing/2014/main" id="{5D4E95E7-0276-4F90-943C-09FBFEFF5E44}"/>
              </a:ext>
            </a:extLst>
          </p:cNvPr>
          <p:cNvSpPr>
            <a:spLocks noGrp="1"/>
          </p:cNvSpPr>
          <p:nvPr>
            <p:ph type="pic" sz="quarter" idx="57"/>
            <p:custDataLst>
              <p:tags r:id="rId11"/>
            </p:custDataLst>
          </p:nvPr>
        </p:nvSpPr>
        <p:spPr>
          <a:xfrm>
            <a:off x="8148715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6" name="Bildplatzhalter 12">
            <a:extLst>
              <a:ext uri="{FF2B5EF4-FFF2-40B4-BE49-F238E27FC236}">
                <a16:creationId xmlns:a16="http://schemas.microsoft.com/office/drawing/2014/main" id="{29EB91E6-F05F-4BE6-BB4A-18ECB6A36900}"/>
              </a:ext>
            </a:extLst>
          </p:cNvPr>
          <p:cNvSpPr>
            <a:spLocks noGrp="1"/>
          </p:cNvSpPr>
          <p:nvPr>
            <p:ph type="pic" sz="quarter" idx="60"/>
            <p:custDataLst>
              <p:tags r:id="rId12"/>
            </p:custDataLst>
          </p:nvPr>
        </p:nvSpPr>
        <p:spPr>
          <a:xfrm>
            <a:off x="8148715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9168CBD5-B953-4D73-BED4-1DF7478E16EB}"/>
              </a:ext>
            </a:extLst>
          </p:cNvPr>
          <p:cNvSpPr>
            <a:spLocks noGrp="1"/>
          </p:cNvSpPr>
          <p:nvPr>
            <p:ph type="pic" sz="quarter" idx="63"/>
            <p:custDataLst>
              <p:tags r:id="rId13"/>
            </p:custDataLst>
          </p:nvPr>
        </p:nvSpPr>
        <p:spPr>
          <a:xfrm>
            <a:off x="4503193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39" name="Bildplatzhalter 12">
            <a:extLst>
              <a:ext uri="{FF2B5EF4-FFF2-40B4-BE49-F238E27FC236}">
                <a16:creationId xmlns:a16="http://schemas.microsoft.com/office/drawing/2014/main" id="{D7BB518A-FC93-4CA5-9E88-EEE8412CC684}"/>
              </a:ext>
            </a:extLst>
          </p:cNvPr>
          <p:cNvSpPr>
            <a:spLocks noGrp="1"/>
          </p:cNvSpPr>
          <p:nvPr>
            <p:ph type="pic" sz="quarter" idx="66"/>
            <p:custDataLst>
              <p:tags r:id="rId14"/>
            </p:custDataLst>
          </p:nvPr>
        </p:nvSpPr>
        <p:spPr>
          <a:xfrm>
            <a:off x="4503193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53549F-E63C-48C0-A72D-BC2FE1AC7DA7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85294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, Überschriften &amp;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7C3A479-4E03-4672-9D34-E4EEBF0F3CF6}"/>
              </a:ext>
            </a:extLst>
          </p:cNvPr>
          <p:cNvSpPr>
            <a:spLocks noGrp="1"/>
          </p:cNvSpPr>
          <p:nvPr>
            <p:ph type="body" sz="quarter" idx="41"/>
            <p:custDataLst>
              <p:tags r:id="rId1"/>
            </p:custDataLst>
          </p:nvPr>
        </p:nvSpPr>
        <p:spPr>
          <a:xfrm>
            <a:off x="2123091" y="2008717"/>
            <a:ext cx="1929949" cy="1420283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  <a:lvl2pPr marL="249760" indent="0">
              <a:buNone/>
              <a:defRPr/>
            </a:lvl2pPr>
            <a:lvl3pPr marL="488937" indent="0">
              <a:buNone/>
              <a:defRPr/>
            </a:lvl3pPr>
            <a:lvl4pPr marL="725998" indent="0">
              <a:buNone/>
              <a:defRPr/>
            </a:lvl4pPr>
            <a:lvl5pPr marL="9651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EEB5F78-61CC-C143-9B36-8FB3DC69713E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2123091" y="1749501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26" name="Bildplatzhalter 12">
            <a:extLst>
              <a:ext uri="{FF2B5EF4-FFF2-40B4-BE49-F238E27FC236}">
                <a16:creationId xmlns:a16="http://schemas.microsoft.com/office/drawing/2014/main" id="{070BD0F2-44D2-9C43-95E5-B7D4DC302D1C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3"/>
            </p:custDataLst>
          </p:nvPr>
        </p:nvSpPr>
        <p:spPr>
          <a:xfrm>
            <a:off x="849640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6DFEFF1E-5414-482A-AEFB-C5143AF1188E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4"/>
            </p:custDataLst>
          </p:nvPr>
        </p:nvSpPr>
        <p:spPr>
          <a:xfrm>
            <a:off x="2123090" y="4100879"/>
            <a:ext cx="1931634" cy="1420283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  <a:lvl2pPr marL="249760" indent="0">
              <a:buNone/>
              <a:defRPr/>
            </a:lvl2pPr>
            <a:lvl3pPr marL="488937" indent="0">
              <a:buNone/>
              <a:defRPr/>
            </a:lvl3pPr>
            <a:lvl4pPr marL="725998" indent="0">
              <a:buNone/>
              <a:defRPr/>
            </a:lvl4pPr>
            <a:lvl5pPr marL="9651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35" name="Textplatzhalter 11">
            <a:extLst>
              <a:ext uri="{FF2B5EF4-FFF2-40B4-BE49-F238E27FC236}">
                <a16:creationId xmlns:a16="http://schemas.microsoft.com/office/drawing/2014/main" id="{B4A31EAE-C539-4D63-97F8-2060BDE44F5E}"/>
              </a:ext>
            </a:extLst>
          </p:cNvPr>
          <p:cNvSpPr>
            <a:spLocks noGrp="1"/>
          </p:cNvSpPr>
          <p:nvPr>
            <p:ph type="body" sz="quarter" idx="45" hasCustomPrompt="1"/>
            <p:custDataLst>
              <p:tags r:id="rId5"/>
            </p:custDataLst>
          </p:nvPr>
        </p:nvSpPr>
        <p:spPr>
          <a:xfrm>
            <a:off x="2123640" y="3839206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39" name="Bildplatzhalter 12">
            <a:extLst>
              <a:ext uri="{FF2B5EF4-FFF2-40B4-BE49-F238E27FC236}">
                <a16:creationId xmlns:a16="http://schemas.microsoft.com/office/drawing/2014/main" id="{48D04ED6-3455-40D3-A1A7-E43F9DD0DB88}"/>
              </a:ext>
            </a:extLst>
          </p:cNvPr>
          <p:cNvSpPr>
            <a:spLocks noGrp="1"/>
          </p:cNvSpPr>
          <p:nvPr>
            <p:ph type="pic" sz="quarter" idx="49"/>
            <p:custDataLst>
              <p:tags r:id="rId6"/>
            </p:custDataLst>
          </p:nvPr>
        </p:nvSpPr>
        <p:spPr>
          <a:xfrm>
            <a:off x="849640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F14FE324-8CFA-4ADB-90A0-895F96510DA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E2561B1-0E98-4EA2-B6D6-2C5BAF842838}"/>
              </a:ext>
            </a:extLst>
          </p:cNvPr>
          <p:cNvSpPr>
            <a:spLocks noGrp="1"/>
          </p:cNvSpPr>
          <p:nvPr>
            <p:ph type="ftr" sz="quarter" idx="53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id="{59F6D52B-3977-42A4-805C-3463C816D09D}"/>
              </a:ext>
            </a:extLst>
          </p:cNvPr>
          <p:cNvSpPr>
            <a:spLocks noGrp="1"/>
          </p:cNvSpPr>
          <p:nvPr>
            <p:ph type="sldNum" sz="quarter" idx="54"/>
            <p:custDataLst>
              <p:tags r:id="rId9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C589473C-1D86-4991-BFB3-FB5D58AC531C}"/>
              </a:ext>
            </a:extLst>
          </p:cNvPr>
          <p:cNvSpPr>
            <a:spLocks noGrp="1"/>
          </p:cNvSpPr>
          <p:nvPr>
            <p:ph type="body" sz="quarter" idx="55"/>
            <p:custDataLst>
              <p:tags r:id="rId10"/>
            </p:custDataLst>
          </p:nvPr>
        </p:nvSpPr>
        <p:spPr>
          <a:xfrm>
            <a:off x="9422166" y="2008717"/>
            <a:ext cx="1929949" cy="1420283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  <a:lvl2pPr marL="249760" indent="0">
              <a:buNone/>
              <a:defRPr/>
            </a:lvl2pPr>
            <a:lvl3pPr marL="488937" indent="0">
              <a:buNone/>
              <a:defRPr/>
            </a:lvl3pPr>
            <a:lvl4pPr marL="725998" indent="0">
              <a:buNone/>
              <a:defRPr/>
            </a:lvl4pPr>
            <a:lvl5pPr marL="9651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46" name="Textplatzhalter 11">
            <a:extLst>
              <a:ext uri="{FF2B5EF4-FFF2-40B4-BE49-F238E27FC236}">
                <a16:creationId xmlns:a16="http://schemas.microsoft.com/office/drawing/2014/main" id="{83B33A51-B31C-4F4E-AECF-AC413E4C0B26}"/>
              </a:ext>
            </a:extLst>
          </p:cNvPr>
          <p:cNvSpPr>
            <a:spLocks noGrp="1"/>
          </p:cNvSpPr>
          <p:nvPr>
            <p:ph type="body" sz="quarter" idx="56" hasCustomPrompt="1"/>
            <p:custDataLst>
              <p:tags r:id="rId11"/>
            </p:custDataLst>
          </p:nvPr>
        </p:nvSpPr>
        <p:spPr>
          <a:xfrm>
            <a:off x="9422166" y="1749501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47" name="Bildplatzhalter 12">
            <a:extLst>
              <a:ext uri="{FF2B5EF4-FFF2-40B4-BE49-F238E27FC236}">
                <a16:creationId xmlns:a16="http://schemas.microsoft.com/office/drawing/2014/main" id="{21776B3E-CE93-44A6-A347-C8C126B71575}"/>
              </a:ext>
            </a:extLst>
          </p:cNvPr>
          <p:cNvSpPr>
            <a:spLocks noGrp="1"/>
          </p:cNvSpPr>
          <p:nvPr>
            <p:ph type="pic" sz="quarter" idx="57"/>
            <p:custDataLst>
              <p:tags r:id="rId12"/>
            </p:custDataLst>
          </p:nvPr>
        </p:nvSpPr>
        <p:spPr>
          <a:xfrm>
            <a:off x="8148715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CA3D4226-EE60-4D37-BFC8-1AF9FB7A9BA5}"/>
              </a:ext>
            </a:extLst>
          </p:cNvPr>
          <p:cNvSpPr>
            <a:spLocks noGrp="1"/>
          </p:cNvSpPr>
          <p:nvPr>
            <p:ph type="body" sz="quarter" idx="58"/>
            <p:custDataLst>
              <p:tags r:id="rId13"/>
            </p:custDataLst>
          </p:nvPr>
        </p:nvSpPr>
        <p:spPr>
          <a:xfrm>
            <a:off x="9422165" y="4100879"/>
            <a:ext cx="1931634" cy="1420283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  <a:lvl2pPr marL="249760" indent="0">
              <a:buNone/>
              <a:defRPr/>
            </a:lvl2pPr>
            <a:lvl3pPr marL="488937" indent="0">
              <a:buNone/>
              <a:defRPr/>
            </a:lvl3pPr>
            <a:lvl4pPr marL="725998" indent="0">
              <a:buNone/>
              <a:defRPr/>
            </a:lvl4pPr>
            <a:lvl5pPr marL="9651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49" name="Textplatzhalter 11">
            <a:extLst>
              <a:ext uri="{FF2B5EF4-FFF2-40B4-BE49-F238E27FC236}">
                <a16:creationId xmlns:a16="http://schemas.microsoft.com/office/drawing/2014/main" id="{B483C676-0012-416A-8E69-134FFE17C0D6}"/>
              </a:ext>
            </a:extLst>
          </p:cNvPr>
          <p:cNvSpPr>
            <a:spLocks noGrp="1"/>
          </p:cNvSpPr>
          <p:nvPr>
            <p:ph type="body" sz="quarter" idx="59" hasCustomPrompt="1"/>
            <p:custDataLst>
              <p:tags r:id="rId14"/>
            </p:custDataLst>
          </p:nvPr>
        </p:nvSpPr>
        <p:spPr>
          <a:xfrm>
            <a:off x="9422715" y="3839206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50" name="Bildplatzhalter 12">
            <a:extLst>
              <a:ext uri="{FF2B5EF4-FFF2-40B4-BE49-F238E27FC236}">
                <a16:creationId xmlns:a16="http://schemas.microsoft.com/office/drawing/2014/main" id="{85D2BED1-F136-4390-9A1C-BE7D599C8931}"/>
              </a:ext>
            </a:extLst>
          </p:cNvPr>
          <p:cNvSpPr>
            <a:spLocks noGrp="1"/>
          </p:cNvSpPr>
          <p:nvPr>
            <p:ph type="pic" sz="quarter" idx="60"/>
            <p:custDataLst>
              <p:tags r:id="rId15"/>
            </p:custDataLst>
          </p:nvPr>
        </p:nvSpPr>
        <p:spPr>
          <a:xfrm>
            <a:off x="8148715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51" name="Textplatzhalter 5">
            <a:extLst>
              <a:ext uri="{FF2B5EF4-FFF2-40B4-BE49-F238E27FC236}">
                <a16:creationId xmlns:a16="http://schemas.microsoft.com/office/drawing/2014/main" id="{6D6CE4F1-D3AE-4015-A3AE-07749879026E}"/>
              </a:ext>
            </a:extLst>
          </p:cNvPr>
          <p:cNvSpPr>
            <a:spLocks noGrp="1"/>
          </p:cNvSpPr>
          <p:nvPr>
            <p:ph type="body" sz="quarter" idx="61"/>
            <p:custDataLst>
              <p:tags r:id="rId16"/>
            </p:custDataLst>
          </p:nvPr>
        </p:nvSpPr>
        <p:spPr>
          <a:xfrm>
            <a:off x="5776644" y="2008717"/>
            <a:ext cx="1929949" cy="1420283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  <a:lvl2pPr marL="249760" indent="0">
              <a:buNone/>
              <a:defRPr/>
            </a:lvl2pPr>
            <a:lvl3pPr marL="488937" indent="0">
              <a:buNone/>
              <a:defRPr/>
            </a:lvl3pPr>
            <a:lvl4pPr marL="725998" indent="0">
              <a:buNone/>
              <a:defRPr/>
            </a:lvl4pPr>
            <a:lvl5pPr marL="9651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52" name="Textplatzhalter 11">
            <a:extLst>
              <a:ext uri="{FF2B5EF4-FFF2-40B4-BE49-F238E27FC236}">
                <a16:creationId xmlns:a16="http://schemas.microsoft.com/office/drawing/2014/main" id="{4E56FF23-6F7C-4673-86C1-4E1E8A1C9DC5}"/>
              </a:ext>
            </a:extLst>
          </p:cNvPr>
          <p:cNvSpPr>
            <a:spLocks noGrp="1"/>
          </p:cNvSpPr>
          <p:nvPr>
            <p:ph type="body" sz="quarter" idx="62" hasCustomPrompt="1"/>
            <p:custDataLst>
              <p:tags r:id="rId17"/>
            </p:custDataLst>
          </p:nvPr>
        </p:nvSpPr>
        <p:spPr>
          <a:xfrm>
            <a:off x="5776644" y="1749501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53" name="Bildplatzhalter 12">
            <a:extLst>
              <a:ext uri="{FF2B5EF4-FFF2-40B4-BE49-F238E27FC236}">
                <a16:creationId xmlns:a16="http://schemas.microsoft.com/office/drawing/2014/main" id="{5EFF06C0-144D-430B-8B5D-1223DA436EFA}"/>
              </a:ext>
            </a:extLst>
          </p:cNvPr>
          <p:cNvSpPr>
            <a:spLocks noGrp="1"/>
          </p:cNvSpPr>
          <p:nvPr>
            <p:ph type="pic" sz="quarter" idx="63"/>
            <p:custDataLst>
              <p:tags r:id="rId18"/>
            </p:custDataLst>
          </p:nvPr>
        </p:nvSpPr>
        <p:spPr>
          <a:xfrm>
            <a:off x="4503193" y="1749500"/>
            <a:ext cx="1191679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1D7523DC-9F5E-4A0A-BCE0-78FB400C0DC8}"/>
              </a:ext>
            </a:extLst>
          </p:cNvPr>
          <p:cNvSpPr>
            <a:spLocks noGrp="1"/>
          </p:cNvSpPr>
          <p:nvPr>
            <p:ph type="body" sz="quarter" idx="64"/>
            <p:custDataLst>
              <p:tags r:id="rId19"/>
            </p:custDataLst>
          </p:nvPr>
        </p:nvSpPr>
        <p:spPr>
          <a:xfrm>
            <a:off x="5776643" y="4100879"/>
            <a:ext cx="1931634" cy="1420283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  <a:lvl2pPr marL="249760" indent="0">
              <a:buNone/>
              <a:defRPr/>
            </a:lvl2pPr>
            <a:lvl3pPr marL="488937" indent="0">
              <a:buNone/>
              <a:defRPr/>
            </a:lvl3pPr>
            <a:lvl4pPr marL="725998" indent="0">
              <a:buNone/>
              <a:defRPr/>
            </a:lvl4pPr>
            <a:lvl5pPr marL="965176" indent="0">
              <a:buNone/>
              <a:defRPr/>
            </a:lvl5pPr>
          </a:lstStyle>
          <a:p>
            <a:pPr lvl="0"/>
            <a:r>
              <a:rPr lang="en-GB"/>
              <a:t>Mastertextformat bearbeiten</a:t>
            </a:r>
            <a:endParaRPr lang="en-GB" dirty="0"/>
          </a:p>
        </p:txBody>
      </p:sp>
      <p:sp>
        <p:nvSpPr>
          <p:cNvPr id="55" name="Textplatzhalter 11">
            <a:extLst>
              <a:ext uri="{FF2B5EF4-FFF2-40B4-BE49-F238E27FC236}">
                <a16:creationId xmlns:a16="http://schemas.microsoft.com/office/drawing/2014/main" id="{C34ABD49-C14E-4BEB-A479-9BBBB37E74AD}"/>
              </a:ext>
            </a:extLst>
          </p:cNvPr>
          <p:cNvSpPr>
            <a:spLocks noGrp="1"/>
          </p:cNvSpPr>
          <p:nvPr>
            <p:ph type="body" sz="quarter" idx="65" hasCustomPrompt="1"/>
            <p:custDataLst>
              <p:tags r:id="rId20"/>
            </p:custDataLst>
          </p:nvPr>
        </p:nvSpPr>
        <p:spPr>
          <a:xfrm>
            <a:off x="5777193" y="3839206"/>
            <a:ext cx="1931634" cy="262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Überschrift</a:t>
            </a:r>
            <a:endParaRPr lang="en-GB" dirty="0"/>
          </a:p>
        </p:txBody>
      </p:sp>
      <p:sp>
        <p:nvSpPr>
          <p:cNvPr id="56" name="Bildplatzhalter 12">
            <a:extLst>
              <a:ext uri="{FF2B5EF4-FFF2-40B4-BE49-F238E27FC236}">
                <a16:creationId xmlns:a16="http://schemas.microsoft.com/office/drawing/2014/main" id="{A3462871-6C7D-43A0-AD26-10C101F605A5}"/>
              </a:ext>
            </a:extLst>
          </p:cNvPr>
          <p:cNvSpPr>
            <a:spLocks noGrp="1"/>
          </p:cNvSpPr>
          <p:nvPr>
            <p:ph type="pic" sz="quarter" idx="66"/>
            <p:custDataLst>
              <p:tags r:id="rId21"/>
            </p:custDataLst>
          </p:nvPr>
        </p:nvSpPr>
        <p:spPr>
          <a:xfrm>
            <a:off x="4503193" y="3834473"/>
            <a:ext cx="1194797" cy="1681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34108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1242125" y="2078512"/>
            <a:ext cx="468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2"/>
            </p:custDataLst>
          </p:nvPr>
        </p:nvSpPr>
        <p:spPr>
          <a:xfrm>
            <a:off x="6269875" y="2078512"/>
            <a:ext cx="4680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noProof="0"/>
              <a:t>Mastertitelformat bearbeiten</a:t>
            </a:r>
            <a:endParaRPr lang="en-GB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5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5D2D20B-1568-45A5-ABCF-87FF14DBEE9B}"/>
              </a:ext>
            </a:extLst>
          </p:cNvPr>
          <p:cNvSpPr>
            <a:spLocks noGrp="1"/>
          </p:cNvSpPr>
          <p:nvPr>
            <p:ph type="body" sz="quarter" idx="42"/>
            <p:custDataLst>
              <p:tags r:id="rId6"/>
            </p:custDataLst>
          </p:nvPr>
        </p:nvSpPr>
        <p:spPr bwMode="ltGray">
          <a:xfrm>
            <a:off x="1241425" y="4208463"/>
            <a:ext cx="4679950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9B0B89D1-BBBF-4A1E-AA10-B851EAD1A0B3}"/>
              </a:ext>
            </a:extLst>
          </p:cNvPr>
          <p:cNvSpPr>
            <a:spLocks noGrp="1"/>
          </p:cNvSpPr>
          <p:nvPr>
            <p:ph type="body" sz="quarter" idx="43"/>
            <p:custDataLst>
              <p:tags r:id="rId7"/>
            </p:custDataLst>
          </p:nvPr>
        </p:nvSpPr>
        <p:spPr bwMode="ltGray">
          <a:xfrm>
            <a:off x="6269925" y="4208463"/>
            <a:ext cx="4679950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6031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wen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435785-FB76-43F0-8B41-9AB8D13E795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386254-98EC-493A-A0E5-0D0AC31D6AC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715500" y="6406096"/>
            <a:ext cx="1522413" cy="265634"/>
          </a:xfrm>
          <a:prstGeom prst="rect">
            <a:avLst/>
          </a:prstGeom>
        </p:spPr>
        <p:txBody>
          <a:bodyPr/>
          <a:lstStyle>
            <a:lvl1pPr>
              <a:defRPr lang="en-GB" dirty="0"/>
            </a:lvl1pPr>
          </a:lstStyle>
          <a:p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7F52F9-BF32-4B55-B98D-418D7482ECA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F28E64-E408-47AD-A2F9-F204E2B0EE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FF95F09-154E-4DA4-B343-81FEC9916E9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02AB4F-B31E-4AA8-A621-5FA5FA25B136}"/>
              </a:ext>
            </a:extLst>
          </p:cNvPr>
          <p:cNvSpPr>
            <a:spLocks noGrp="1"/>
          </p:cNvSpPr>
          <p:nvPr>
            <p:ph type="body" sz="quarter" idx="33"/>
            <p:custDataLst>
              <p:tags r:id="rId5"/>
            </p:custDataLst>
          </p:nvPr>
        </p:nvSpPr>
        <p:spPr>
          <a:xfrm>
            <a:off x="844550" y="2312988"/>
            <a:ext cx="10501313" cy="2743200"/>
          </a:xfrm>
        </p:spPr>
        <p:txBody>
          <a:bodyPr/>
          <a:lstStyle>
            <a:lvl1pPr>
              <a:spcBef>
                <a:spcPts val="1800"/>
              </a:spcBef>
              <a:defRPr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600"/>
              </a:spcBef>
              <a:defRPr sz="14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935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860628" y="2078512"/>
            <a:ext cx="3276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2"/>
            </p:custDataLst>
          </p:nvPr>
        </p:nvSpPr>
        <p:spPr>
          <a:xfrm>
            <a:off x="4460768" y="2078512"/>
            <a:ext cx="3276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7" name="Bildplatzhalter 34">
            <a:extLst>
              <a:ext uri="{FF2B5EF4-FFF2-40B4-BE49-F238E27FC236}">
                <a16:creationId xmlns:a16="http://schemas.microsoft.com/office/drawing/2014/main" id="{F36A34E1-5618-CB48-ADC6-17A5BD0D9249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3"/>
            </p:custDataLst>
          </p:nvPr>
        </p:nvSpPr>
        <p:spPr>
          <a:xfrm>
            <a:off x="8065946" y="2078512"/>
            <a:ext cx="3276000" cy="21294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noProof="0"/>
              <a:t>Mastertitelformat bearbeiten</a:t>
            </a:r>
            <a:endParaRPr lang="en-GB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6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8734D5E-6444-49AC-94C2-8FD6DDB91E7F}"/>
              </a:ext>
            </a:extLst>
          </p:cNvPr>
          <p:cNvSpPr>
            <a:spLocks noGrp="1"/>
          </p:cNvSpPr>
          <p:nvPr>
            <p:ph type="body" sz="quarter" idx="42"/>
            <p:custDataLst>
              <p:tags r:id="rId7"/>
            </p:custDataLst>
          </p:nvPr>
        </p:nvSpPr>
        <p:spPr bwMode="ltGray">
          <a:xfrm>
            <a:off x="843894" y="4208463"/>
            <a:ext cx="3292734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25880A8A-5AFD-481B-9D07-AA1EF533714A}"/>
              </a:ext>
            </a:extLst>
          </p:cNvPr>
          <p:cNvSpPr>
            <a:spLocks noGrp="1"/>
          </p:cNvSpPr>
          <p:nvPr>
            <p:ph type="body" sz="quarter" idx="43"/>
            <p:custDataLst>
              <p:tags r:id="rId8"/>
            </p:custDataLst>
          </p:nvPr>
        </p:nvSpPr>
        <p:spPr bwMode="ltGray">
          <a:xfrm>
            <a:off x="4460697" y="4208463"/>
            <a:ext cx="3292734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E4B1F41-36E8-4CC6-9CAE-20492F8CCD6D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9"/>
            </p:custDataLst>
          </p:nvPr>
        </p:nvSpPr>
        <p:spPr bwMode="ltGray">
          <a:xfrm>
            <a:off x="8065946" y="4208463"/>
            <a:ext cx="3292734" cy="1849437"/>
          </a:xfrm>
          <a:solidFill>
            <a:schemeClr val="accent1"/>
          </a:solidFill>
        </p:spPr>
        <p:txBody>
          <a:bodyPr lIns="108000" tIns="108000" rIns="108000" bIns="108000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43484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293DD690-5540-9A43-A93D-DBC0CD7AA003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860628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6" name="Bildplatzhalter 34">
            <a:extLst>
              <a:ext uri="{FF2B5EF4-FFF2-40B4-BE49-F238E27FC236}">
                <a16:creationId xmlns:a16="http://schemas.microsoft.com/office/drawing/2014/main" id="{E0302A02-87E9-B44B-82BE-86E27EF7B20C}"/>
              </a:ext>
            </a:extLst>
          </p:cNvPr>
          <p:cNvSpPr>
            <a:spLocks noGrp="1"/>
          </p:cNvSpPr>
          <p:nvPr>
            <p:ph type="pic" sz="quarter" idx="28"/>
            <p:custDataLst>
              <p:tags r:id="rId2"/>
            </p:custDataLst>
          </p:nvPr>
        </p:nvSpPr>
        <p:spPr>
          <a:xfrm>
            <a:off x="3574633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7" name="Bildplatzhalter 34">
            <a:extLst>
              <a:ext uri="{FF2B5EF4-FFF2-40B4-BE49-F238E27FC236}">
                <a16:creationId xmlns:a16="http://schemas.microsoft.com/office/drawing/2014/main" id="{F36A34E1-5618-CB48-ADC6-17A5BD0D9249}"/>
              </a:ext>
            </a:extLst>
          </p:cNvPr>
          <p:cNvSpPr>
            <a:spLocks noGrp="1"/>
          </p:cNvSpPr>
          <p:nvPr>
            <p:ph type="pic" sz="quarter" idx="29"/>
            <p:custDataLst>
              <p:tags r:id="rId3"/>
            </p:custDataLst>
          </p:nvPr>
        </p:nvSpPr>
        <p:spPr>
          <a:xfrm>
            <a:off x="6288638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38" name="Bildplatzhalter 34">
            <a:extLst>
              <a:ext uri="{FF2B5EF4-FFF2-40B4-BE49-F238E27FC236}">
                <a16:creationId xmlns:a16="http://schemas.microsoft.com/office/drawing/2014/main" id="{3760E902-C0FF-6F4D-AF66-6B9B2A06F73A}"/>
              </a:ext>
            </a:extLst>
          </p:cNvPr>
          <p:cNvSpPr>
            <a:spLocks noGrp="1"/>
          </p:cNvSpPr>
          <p:nvPr>
            <p:ph type="pic" sz="quarter" idx="30"/>
            <p:custDataLst>
              <p:tags r:id="rId4"/>
            </p:custDataLst>
          </p:nvPr>
        </p:nvSpPr>
        <p:spPr>
          <a:xfrm>
            <a:off x="9002643" y="2078512"/>
            <a:ext cx="2340000" cy="21294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b="0" i="0">
                <a:latin typeface="+mn-lt"/>
              </a:defRPr>
            </a:lvl1pPr>
          </a:lstStyle>
          <a:p>
            <a:r>
              <a:rPr lang="en-GB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4B932-B8CB-4F5D-8832-18BC54934FA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>
            <a:noAutofit/>
          </a:bodyPr>
          <a:lstStyle/>
          <a:p>
            <a:r>
              <a:rPr lang="en-GB" noProof="0"/>
              <a:t>Mastertitelformat bearbeiten</a:t>
            </a:r>
            <a:endParaRPr lang="en-GB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58960-C963-4D4D-95E3-25B6A470F007}"/>
              </a:ext>
            </a:extLst>
          </p:cNvPr>
          <p:cNvSpPr>
            <a:spLocks noGrp="1"/>
          </p:cNvSpPr>
          <p:nvPr>
            <p:ph type="ftr" sz="quarter" idx="40"/>
            <p:custDataLst>
              <p:tags r:id="rId6"/>
            </p:custDataLst>
          </p:nvPr>
        </p:nvSpPr>
        <p:spPr/>
        <p:txBody>
          <a:bodyPr>
            <a:noAutofit/>
          </a:bodyPr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3875F5-7175-40F8-8468-64663DC85EE3}"/>
              </a:ext>
            </a:extLst>
          </p:cNvPr>
          <p:cNvSpPr>
            <a:spLocks noGrp="1"/>
          </p:cNvSpPr>
          <p:nvPr>
            <p:ph type="sldNum" sz="quarter" idx="41"/>
            <p:custDataLst>
              <p:tags r:id="rId7"/>
            </p:custDataLst>
          </p:nvPr>
        </p:nvSpPr>
        <p:spPr/>
        <p:txBody>
          <a:bodyPr>
            <a:noAutofit/>
          </a:bodyPr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01606BCE-472A-414D-8063-CAEE90A2B335}"/>
              </a:ext>
            </a:extLst>
          </p:cNvPr>
          <p:cNvSpPr>
            <a:spLocks noGrp="1"/>
          </p:cNvSpPr>
          <p:nvPr>
            <p:ph type="body" sz="quarter" idx="42"/>
            <p:custDataLst>
              <p:tags r:id="rId8"/>
            </p:custDataLst>
          </p:nvPr>
        </p:nvSpPr>
        <p:spPr bwMode="ltGray">
          <a:xfrm>
            <a:off x="860628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833B5E07-2919-49C0-BF2F-9AE9A09F9112}"/>
              </a:ext>
            </a:extLst>
          </p:cNvPr>
          <p:cNvSpPr>
            <a:spLocks noGrp="1"/>
          </p:cNvSpPr>
          <p:nvPr>
            <p:ph type="body" sz="quarter" idx="43"/>
            <p:custDataLst>
              <p:tags r:id="rId9"/>
            </p:custDataLst>
          </p:nvPr>
        </p:nvSpPr>
        <p:spPr bwMode="ltGray">
          <a:xfrm>
            <a:off x="3574641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0DFDB0A2-49F7-407D-A9EF-46D120BC2804}"/>
              </a:ext>
            </a:extLst>
          </p:cNvPr>
          <p:cNvSpPr>
            <a:spLocks noGrp="1"/>
          </p:cNvSpPr>
          <p:nvPr>
            <p:ph type="body" sz="quarter" idx="44"/>
            <p:custDataLst>
              <p:tags r:id="rId10"/>
            </p:custDataLst>
          </p:nvPr>
        </p:nvSpPr>
        <p:spPr bwMode="ltGray">
          <a:xfrm>
            <a:off x="6288654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52D00669-E0BE-418E-ACCF-21E4B1756510}"/>
              </a:ext>
            </a:extLst>
          </p:cNvPr>
          <p:cNvSpPr>
            <a:spLocks noGrp="1"/>
          </p:cNvSpPr>
          <p:nvPr>
            <p:ph type="body" sz="quarter" idx="45"/>
            <p:custDataLst>
              <p:tags r:id="rId11"/>
            </p:custDataLst>
          </p:nvPr>
        </p:nvSpPr>
        <p:spPr bwMode="ltGray">
          <a:xfrm>
            <a:off x="9002668" y="4208463"/>
            <a:ext cx="2339975" cy="1849437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0" indent="0" algn="ctr">
              <a:buNone/>
              <a:defRPr sz="1400">
                <a:solidFill>
                  <a:schemeClr val="accent5"/>
                </a:solidFill>
              </a:defRPr>
            </a:lvl2pPr>
            <a:lvl3pPr marL="179388" indent="-179388"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92085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ilenstein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63FEDB-56EC-714A-A04F-5AA705F5250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4557445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873F1436-3B91-8540-A651-3A6262E2CEEF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569001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55E3DF55-D0B0-954F-A4AD-A044881E626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8613671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AC53F2E-8872-794B-8AD3-C9F6DC4FEB9E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658925" y="1710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949446A-16BF-D742-9F89-F422A7AEC07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474913" y="1683000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CD106B8C-DB3E-3A40-848C-31DBD53D037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519154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79B90B10-453E-E24C-90A1-A7631C4325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3504248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EC6A5A6-0CF1-564B-B914-54B84689FE2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5576521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272B28BA-DEB0-0843-B276-A92DB9C421C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9630110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B9B5F4CC-F702-1F46-A303-7D23388B6168}"/>
              </a:ext>
            </a:extLst>
          </p:cNvPr>
          <p:cNvSpPr>
            <a:spLocks noGrp="1"/>
          </p:cNvSpPr>
          <p:nvPr>
            <p:ph sz="quarter" idx="20" hasCustomPrompt="1"/>
            <p:custDataLst>
              <p:tags r:id="rId10"/>
            </p:custDataLst>
          </p:nvPr>
        </p:nvSpPr>
        <p:spPr>
          <a:xfrm>
            <a:off x="4557445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19" name="Inhaltsplatzhalter 17">
            <a:extLst>
              <a:ext uri="{FF2B5EF4-FFF2-40B4-BE49-F238E27FC236}">
                <a16:creationId xmlns:a16="http://schemas.microsoft.com/office/drawing/2014/main" id="{95BB592A-1CB2-F642-9F82-492E8EF467CF}"/>
              </a:ext>
            </a:extLst>
          </p:cNvPr>
          <p:cNvSpPr>
            <a:spLocks noGrp="1"/>
          </p:cNvSpPr>
          <p:nvPr>
            <p:ph sz="quarter" idx="21" hasCustomPrompt="1"/>
            <p:custDataLst>
              <p:tags r:id="rId11"/>
            </p:custDataLst>
          </p:nvPr>
        </p:nvSpPr>
        <p:spPr>
          <a:xfrm>
            <a:off x="6569025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0" name="Inhaltsplatzhalter 17">
            <a:extLst>
              <a:ext uri="{FF2B5EF4-FFF2-40B4-BE49-F238E27FC236}">
                <a16:creationId xmlns:a16="http://schemas.microsoft.com/office/drawing/2014/main" id="{DD3E379B-C876-9D4A-BBC4-8EFA1A1EDFC2}"/>
              </a:ext>
            </a:extLst>
          </p:cNvPr>
          <p:cNvSpPr>
            <a:spLocks noGrp="1"/>
          </p:cNvSpPr>
          <p:nvPr>
            <p:ph sz="quarter" idx="22" hasCustomPrompt="1"/>
            <p:custDataLst>
              <p:tags r:id="rId12"/>
            </p:custDataLst>
          </p:nvPr>
        </p:nvSpPr>
        <p:spPr>
          <a:xfrm>
            <a:off x="8613671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1" name="Inhaltsplatzhalter 17">
            <a:extLst>
              <a:ext uri="{FF2B5EF4-FFF2-40B4-BE49-F238E27FC236}">
                <a16:creationId xmlns:a16="http://schemas.microsoft.com/office/drawing/2014/main" id="{801A5A63-5D79-C642-9860-5F0153C225A0}"/>
              </a:ext>
            </a:extLst>
          </p:cNvPr>
          <p:cNvSpPr>
            <a:spLocks noGrp="1"/>
          </p:cNvSpPr>
          <p:nvPr>
            <p:ph sz="quarter" idx="23" hasCustomPrompt="1"/>
            <p:custDataLst>
              <p:tags r:id="rId13"/>
            </p:custDataLst>
          </p:nvPr>
        </p:nvSpPr>
        <p:spPr>
          <a:xfrm>
            <a:off x="10658317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lang="de-DE" sz="1200" b="1" i="0" kern="1200" dirty="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2" name="Inhaltsplatzhalter 17">
            <a:extLst>
              <a:ext uri="{FF2B5EF4-FFF2-40B4-BE49-F238E27FC236}">
                <a16:creationId xmlns:a16="http://schemas.microsoft.com/office/drawing/2014/main" id="{8F9DE729-C790-D743-832E-284D55003A53}"/>
              </a:ext>
            </a:extLst>
          </p:cNvPr>
          <p:cNvSpPr>
            <a:spLocks noGrp="1"/>
          </p:cNvSpPr>
          <p:nvPr>
            <p:ph sz="quarter" idx="24" hasCustomPrompt="1"/>
            <p:custDataLst>
              <p:tags r:id="rId14"/>
            </p:custDataLst>
          </p:nvPr>
        </p:nvSpPr>
        <p:spPr>
          <a:xfrm>
            <a:off x="9630386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3" name="Inhaltsplatzhalter 17">
            <a:extLst>
              <a:ext uri="{FF2B5EF4-FFF2-40B4-BE49-F238E27FC236}">
                <a16:creationId xmlns:a16="http://schemas.microsoft.com/office/drawing/2014/main" id="{2A7B4E93-E0E9-E347-A3CA-05ADFE465C23}"/>
              </a:ext>
            </a:extLst>
          </p:cNvPr>
          <p:cNvSpPr>
            <a:spLocks noGrp="1"/>
          </p:cNvSpPr>
          <p:nvPr>
            <p:ph sz="quarter" idx="25" hasCustomPrompt="1"/>
            <p:custDataLst>
              <p:tags r:id="rId15"/>
            </p:custDataLst>
          </p:nvPr>
        </p:nvSpPr>
        <p:spPr>
          <a:xfrm>
            <a:off x="5576461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4" name="Inhaltsplatzhalter 17">
            <a:extLst>
              <a:ext uri="{FF2B5EF4-FFF2-40B4-BE49-F238E27FC236}">
                <a16:creationId xmlns:a16="http://schemas.microsoft.com/office/drawing/2014/main" id="{AE0CB9F8-F003-B04B-A170-ECB1AE96E6A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16"/>
            </p:custDataLst>
          </p:nvPr>
        </p:nvSpPr>
        <p:spPr>
          <a:xfrm>
            <a:off x="3503413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5" name="Inhaltsplatzhalter 17">
            <a:extLst>
              <a:ext uri="{FF2B5EF4-FFF2-40B4-BE49-F238E27FC236}">
                <a16:creationId xmlns:a16="http://schemas.microsoft.com/office/drawing/2014/main" id="{2691CE29-EBC3-3E4F-98C8-6637AD042E4B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17"/>
            </p:custDataLst>
          </p:nvPr>
        </p:nvSpPr>
        <p:spPr>
          <a:xfrm>
            <a:off x="1519070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26" name="Inhaltsplatzhalter 17">
            <a:extLst>
              <a:ext uri="{FF2B5EF4-FFF2-40B4-BE49-F238E27FC236}">
                <a16:creationId xmlns:a16="http://schemas.microsoft.com/office/drawing/2014/main" id="{4DAE49F9-5745-4045-A8C2-3F09E0CC4ACB}"/>
              </a:ext>
            </a:extLst>
          </p:cNvPr>
          <p:cNvSpPr>
            <a:spLocks noGrp="1"/>
          </p:cNvSpPr>
          <p:nvPr>
            <p:ph sz="quarter" idx="28" hasCustomPrompt="1"/>
            <p:custDataLst>
              <p:tags r:id="rId18"/>
            </p:custDataLst>
          </p:nvPr>
        </p:nvSpPr>
        <p:spPr>
          <a:xfrm>
            <a:off x="2475686" y="1450801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3B6F43D-1284-4F32-A229-F302C36676AD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4683E994-A516-4BF9-B4D1-5E313B28520B}"/>
              </a:ext>
            </a:extLst>
          </p:cNvPr>
          <p:cNvSpPr>
            <a:spLocks noGrp="1"/>
          </p:cNvSpPr>
          <p:nvPr>
            <p:ph type="ftr" sz="quarter" idx="29"/>
            <p:custDataLst>
              <p:tags r:id="rId20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32" name="Foliennummernplatzhalter 31">
            <a:extLst>
              <a:ext uri="{FF2B5EF4-FFF2-40B4-BE49-F238E27FC236}">
                <a16:creationId xmlns:a16="http://schemas.microsoft.com/office/drawing/2014/main" id="{8F88376B-1D40-4404-8ABD-7C73E4856C22}"/>
              </a:ext>
            </a:extLst>
          </p:cNvPr>
          <p:cNvSpPr>
            <a:spLocks noGrp="1"/>
          </p:cNvSpPr>
          <p:nvPr>
            <p:ph type="sldNum" sz="quarter" idx="30"/>
            <p:custDataLst>
              <p:tags r:id="rId21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F55A93C-FE4C-4B2B-B2D2-837F9F9C4E0F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 bwMode="ltGray">
          <a:xfrm flipV="1">
            <a:off x="1009650" y="3453318"/>
            <a:ext cx="10163175" cy="318974"/>
          </a:xfrm>
          <a:prstGeom prst="rect">
            <a:avLst/>
          </a:prstGeom>
        </p:spPr>
      </p:pic>
      <p:sp>
        <p:nvSpPr>
          <p:cNvPr id="77" name="Textplatzhalter 7">
            <a:extLst>
              <a:ext uri="{FF2B5EF4-FFF2-40B4-BE49-F238E27FC236}">
                <a16:creationId xmlns:a16="http://schemas.microsoft.com/office/drawing/2014/main" id="{7EFB545D-9B2A-4221-9076-D36451F1FFB2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3"/>
            </p:custDataLst>
          </p:nvPr>
        </p:nvSpPr>
        <p:spPr>
          <a:xfrm>
            <a:off x="7594481" y="4892809"/>
            <a:ext cx="1288884" cy="86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00"/>
              </a:spcBef>
              <a:buNone/>
              <a:defRPr sz="1200" b="0" i="0">
                <a:latin typeface="+mn-lt"/>
              </a:defRPr>
            </a:lvl1pPr>
          </a:lstStyle>
          <a:p>
            <a:pPr lvl="0"/>
            <a:r>
              <a:rPr lang="en-GB"/>
              <a:t>Fließtext</a:t>
            </a:r>
            <a:endParaRPr lang="en-GB" dirty="0"/>
          </a:p>
        </p:txBody>
      </p:sp>
      <p:sp>
        <p:nvSpPr>
          <p:cNvPr id="78" name="Inhaltsplatzhalter 17">
            <a:extLst>
              <a:ext uri="{FF2B5EF4-FFF2-40B4-BE49-F238E27FC236}">
                <a16:creationId xmlns:a16="http://schemas.microsoft.com/office/drawing/2014/main" id="{68F6896F-4B64-4535-9C8C-4C8B3FB819F2}"/>
              </a:ext>
            </a:extLst>
          </p:cNvPr>
          <p:cNvSpPr>
            <a:spLocks noGrp="1"/>
          </p:cNvSpPr>
          <p:nvPr>
            <p:ph sz="quarter" idx="34" hasCustomPrompt="1"/>
            <p:custDataLst>
              <p:tags r:id="rId24"/>
            </p:custDataLst>
          </p:nvPr>
        </p:nvSpPr>
        <p:spPr>
          <a:xfrm>
            <a:off x="7594757" y="4651610"/>
            <a:ext cx="1288884" cy="232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400"/>
              </a:spcBef>
              <a:buNone/>
              <a:defRPr sz="12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Jah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0768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eichsseite Basis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7055411-5FB9-C44C-B243-7543098104ED}"/>
              </a:ext>
            </a:extLst>
          </p:cNvPr>
          <p:cNvSpPr/>
          <p:nvPr>
            <p:custDataLst>
              <p:tags r:id="rId1"/>
            </p:custDataLst>
          </p:nvPr>
        </p:nvSpPr>
        <p:spPr bwMode="ltGray">
          <a:xfrm>
            <a:off x="1" y="1998922"/>
            <a:ext cx="4391532" cy="4093535"/>
          </a:xfrm>
          <a:prstGeom prst="rect">
            <a:avLst/>
          </a:prstGeom>
          <a:solidFill>
            <a:srgbClr val="14285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7DE513C-502C-493A-9A44-F1A60712CE38}"/>
              </a:ext>
            </a:extLst>
          </p:cNvPr>
          <p:cNvSpPr>
            <a:spLocks noGrp="1"/>
          </p:cNvSpPr>
          <p:nvPr>
            <p:ph type="body" sz="quarter" idx="33" hasCustomPrompt="1"/>
            <p:custDataLst>
              <p:tags r:id="rId2"/>
            </p:custDataLst>
          </p:nvPr>
        </p:nvSpPr>
        <p:spPr bwMode="white">
          <a:xfrm>
            <a:off x="838200" y="2224088"/>
            <a:ext cx="3127375" cy="366236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Kurzbeschreibung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19D161A-4825-4BCB-9FF3-2658BDCE833A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>
          <a:xfrm>
            <a:off x="4804834" y="2728384"/>
            <a:ext cx="3139017" cy="32374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400">
                <a:solidFill>
                  <a:schemeClr val="tx1"/>
                </a:solidFill>
                <a:latin typeface="+mn-lt"/>
              </a:defRPr>
            </a:lvl2pPr>
            <a:lvl3pPr>
              <a:defRPr sz="1200">
                <a:solidFill>
                  <a:schemeClr val="accent5"/>
                </a:solidFill>
              </a:defRPr>
            </a:lvl3pPr>
            <a:lvl4pPr>
              <a:defRPr sz="12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0851A89-232C-B147-86BF-1BA131425429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4"/>
            </p:custDataLst>
          </p:nvPr>
        </p:nvSpPr>
        <p:spPr>
          <a:xfrm>
            <a:off x="4804237" y="1998921"/>
            <a:ext cx="6526281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n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Univers" panose="020B0503020202020204" pitchFamily="34" charset="0"/>
              <a:buNone/>
              <a:tabLst/>
              <a:defRPr/>
            </a:pPr>
            <a:r>
              <a:rPr lang="en-GB"/>
              <a:t>Titel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03E1220-E3C2-4FFB-BE54-9BD68C164BB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478E438B-CD8E-406E-AA7A-DDFFFF45A07B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8191501" y="2728384"/>
            <a:ext cx="3139017" cy="32374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400">
                <a:solidFill>
                  <a:schemeClr val="tx1"/>
                </a:solidFill>
                <a:latin typeface="+mn-lt"/>
              </a:defRPr>
            </a:lvl2pPr>
            <a:lvl3pPr>
              <a:defRPr sz="1200">
                <a:solidFill>
                  <a:schemeClr val="accent5"/>
                </a:solidFill>
              </a:defRPr>
            </a:lvl3pPr>
            <a:lvl4pPr>
              <a:defRPr sz="12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21B2EC0-2D4B-4041-B0F3-1CB940A669F1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84210B1-EFCE-4ED8-92AF-FA0CE5691753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8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Bildplatzhalter 31">
            <a:extLst>
              <a:ext uri="{FF2B5EF4-FFF2-40B4-BE49-F238E27FC236}">
                <a16:creationId xmlns:a16="http://schemas.microsoft.com/office/drawing/2014/main" id="{07D26193-E9AF-43A3-848D-6374ACCF725C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9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GB"/>
              <a:t>Bereichs-Kennzeichnu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74186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eichsseite Basisinfo_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BEC107-CF1B-DD44-B8C1-19F1E1FBAC0C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0851A89-232C-B147-86BF-1BA131425429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2"/>
            </p:custDataLst>
          </p:nvPr>
        </p:nvSpPr>
        <p:spPr>
          <a:xfrm>
            <a:off x="4804237" y="1998920"/>
            <a:ext cx="6536503" cy="343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b="1" i="0">
                <a:solidFill>
                  <a:srgbClr val="E52027"/>
                </a:solidFill>
                <a:latin typeface="+mn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2" indent="0">
              <a:buNone/>
              <a:defRPr sz="1600" b="1"/>
            </a:lvl5pPr>
            <a:lvl6pPr marL="2285828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Univers" panose="020B0503020202020204" pitchFamily="34" charset="0"/>
              <a:buNone/>
              <a:tabLst/>
              <a:defRPr/>
            </a:pPr>
            <a:r>
              <a:rPr lang="en-GB"/>
              <a:t>Titel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16809C-E8E0-A34A-AF70-79795DB5C66B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CE23769-D04D-DC42-88FA-159208F49A91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4"/>
            </p:custDataLst>
          </p:nvPr>
        </p:nvSpPr>
        <p:spPr bwMode="gray">
          <a:xfrm>
            <a:off x="0" y="1999800"/>
            <a:ext cx="4392285" cy="4093200"/>
          </a:xfrm>
          <a:prstGeom prst="rect">
            <a:avLst/>
          </a:prstGeom>
        </p:spPr>
        <p:txBody>
          <a:bodyPr/>
          <a:lstStyle>
            <a:lvl1pPr marL="48600" indent="0">
              <a:buNone/>
              <a:defRPr>
                <a:latin typeface="+mn-lt"/>
              </a:defRPr>
            </a:lvl1pPr>
          </a:lstStyle>
          <a:p>
            <a:r>
              <a:rPr lang="en-GB"/>
              <a:t>Bild durch Klicken auf Symbol hinzufügen</a:t>
            </a:r>
            <a:endParaRPr lang="en-GB" dirty="0"/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53B05543-8C39-44E4-A71F-68C4CE78AEA5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4804834" y="2728384"/>
            <a:ext cx="3139017" cy="32374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400">
                <a:solidFill>
                  <a:schemeClr val="tx1"/>
                </a:solidFill>
                <a:latin typeface="+mn-lt"/>
              </a:defRPr>
            </a:lvl2pPr>
            <a:lvl3pPr>
              <a:defRPr sz="1200">
                <a:solidFill>
                  <a:schemeClr val="accent5"/>
                </a:solidFill>
              </a:defRPr>
            </a:lvl3pPr>
            <a:lvl4pPr>
              <a:defRPr sz="12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64278F1F-8252-4887-B547-24FA29FA6BD4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8191501" y="2728384"/>
            <a:ext cx="3139017" cy="32374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  <a:lvl2pPr>
              <a:defRPr sz="1400">
                <a:solidFill>
                  <a:schemeClr val="tx1"/>
                </a:solidFill>
                <a:latin typeface="+mn-lt"/>
              </a:defRPr>
            </a:lvl2pPr>
            <a:lvl3pPr>
              <a:defRPr sz="1200">
                <a:solidFill>
                  <a:schemeClr val="accent5"/>
                </a:solidFill>
              </a:defRPr>
            </a:lvl3pPr>
            <a:lvl4pPr>
              <a:defRPr sz="1200">
                <a:solidFill>
                  <a:schemeClr val="accent5"/>
                </a:solidFill>
              </a:defRPr>
            </a:lvl4pPr>
            <a:lvl5pPr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69664C-08FC-4D7A-A84A-2A724AEAA82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9" name="Bildplatzhalter 31">
            <a:extLst>
              <a:ext uri="{FF2B5EF4-FFF2-40B4-BE49-F238E27FC236}">
                <a16:creationId xmlns:a16="http://schemas.microsoft.com/office/drawing/2014/main" id="{6779804B-CAB5-4598-A9C0-921B5B9DB455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8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GB"/>
              <a:t>Bereichs-Kennzeichnu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44635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B170C05-BAC1-4F50-9CD0-A4E59C2521C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76355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58340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435785-FB76-43F0-8B41-9AB8D13E795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386254-98EC-493A-A0E5-0D0AC31D6AC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715500" y="6406096"/>
            <a:ext cx="1522413" cy="265634"/>
          </a:xfrm>
          <a:prstGeom prst="rect">
            <a:avLst/>
          </a:prstGeom>
        </p:spPr>
        <p:txBody>
          <a:bodyPr/>
          <a:lstStyle>
            <a:lvl1pPr>
              <a:defRPr lang="en-US" dirty="0"/>
            </a:lvl1pPr>
          </a:lstStyle>
          <a:p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7F52F9-BF32-4B55-B98D-418D7482ECA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© Schrack Seconet AG 2021 – International template – Edit footer via "Insert / Header &amp; Footer"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F28E64-E408-47AD-A2F9-F204E2B0EE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FF95F09-154E-4DA4-B343-81FEC9916E9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D35AB2B-D5F1-4626-989C-A7708910486D}"/>
              </a:ext>
            </a:extLst>
          </p:cNvPr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844550" y="1465263"/>
            <a:ext cx="10496550" cy="45005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10" name="Bildplatzhalter 31">
            <a:extLst>
              <a:ext uri="{FF2B5EF4-FFF2-40B4-BE49-F238E27FC236}">
                <a16:creationId xmlns:a16="http://schemas.microsoft.com/office/drawing/2014/main" id="{74311161-9256-475C-99C4-A7C2C9172CEE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6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/>
              <a:t>Bereichs-Kennzeichnung</a:t>
            </a:r>
          </a:p>
        </p:txBody>
      </p:sp>
    </p:spTree>
    <p:extLst>
      <p:ext uri="{BB962C8B-B14F-4D97-AF65-F5344CB8AC3E}">
        <p14:creationId xmlns:p14="http://schemas.microsoft.com/office/powerpoint/2010/main" val="33163673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435785-FB76-43F0-8B41-9AB8D13E795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B386254-98EC-493A-A0E5-0D0AC31D6AC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>
          <a:xfrm>
            <a:off x="9715500" y="6406096"/>
            <a:ext cx="1522413" cy="265634"/>
          </a:xfrm>
          <a:prstGeom prst="rect">
            <a:avLst/>
          </a:prstGeom>
        </p:spPr>
        <p:txBody>
          <a:bodyPr/>
          <a:lstStyle>
            <a:lvl1pPr>
              <a:defRPr lang="en-US" dirty="0"/>
            </a:lvl1pPr>
          </a:lstStyle>
          <a:p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7F52F9-BF32-4B55-B98D-418D7482ECA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© Schrack Seconet AG 2021 – International template – Edit footer via "Insert / Header &amp; Footer"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F28E64-E408-47AD-A2F9-F204E2B0EE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CFF95F09-154E-4DA4-B343-81FEC9916E9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D35AB2B-D5F1-4626-989C-A7708910486D}"/>
              </a:ext>
            </a:extLst>
          </p:cNvPr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844550" y="1465263"/>
            <a:ext cx="10496550" cy="45005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10" name="Bildplatzhalter 31">
            <a:extLst>
              <a:ext uri="{FF2B5EF4-FFF2-40B4-BE49-F238E27FC236}">
                <a16:creationId xmlns:a16="http://schemas.microsoft.com/office/drawing/2014/main" id="{74311161-9256-475C-99C4-A7C2C9172CEE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6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/>
              <a:t>Bereichs-Kennzeichnung</a:t>
            </a:r>
          </a:p>
        </p:txBody>
      </p:sp>
    </p:spTree>
    <p:extLst>
      <p:ext uri="{BB962C8B-B14F-4D97-AF65-F5344CB8AC3E}">
        <p14:creationId xmlns:p14="http://schemas.microsoft.com/office/powerpoint/2010/main" val="19017718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-Bild-Komb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B29F9CD-67E6-420F-B75D-295A8A7C003A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>
          <a:xfrm>
            <a:off x="838202" y="1797052"/>
            <a:ext cx="5079566" cy="4083049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6B8F30-7F3C-1E4E-87CF-D569AACE68BC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DCB4053-535D-E042-A6D5-68E70EAB654A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838199" y="1452600"/>
            <a:ext cx="5075636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2" indent="0">
              <a:buNone/>
              <a:defRPr sz="1600" b="1"/>
            </a:lvl5pPr>
            <a:lvl6pPr marL="2285828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Untertitel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36477A2-4192-634F-86C3-9443596864D5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© Schrack Seconet AG 2021 – International template – Edit footer via "Insert / Header &amp; Footer"</a:t>
            </a:r>
            <a:endParaRPr lang="en-US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25E1697D-8B5D-4274-A93A-8DF34C4A857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14" name="Bildplatzhalter 31">
            <a:extLst>
              <a:ext uri="{FF2B5EF4-FFF2-40B4-BE49-F238E27FC236}">
                <a16:creationId xmlns:a16="http://schemas.microsoft.com/office/drawing/2014/main" id="{AB26544C-31F1-49DE-97F9-CFB3F20E273A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6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/>
              <a:t>Bereichs-Kennzeichnung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85FF78B1-0CB2-4789-A7BA-13EF9ACFDC61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7"/>
            </p:custDataLst>
          </p:nvPr>
        </p:nvSpPr>
        <p:spPr>
          <a:xfrm>
            <a:off x="4900560" y="6245"/>
            <a:ext cx="7291440" cy="6876000"/>
          </a:xfrm>
          <a:custGeom>
            <a:avLst/>
            <a:gdLst>
              <a:gd name="connsiteX0" fmla="*/ 0 w 14983580"/>
              <a:gd name="connsiteY0" fmla="*/ 0 h 13716000"/>
              <a:gd name="connsiteX1" fmla="*/ 14983580 w 14983580"/>
              <a:gd name="connsiteY1" fmla="*/ 0 h 13716000"/>
              <a:gd name="connsiteX2" fmla="*/ 14983580 w 14983580"/>
              <a:gd name="connsiteY2" fmla="*/ 13716000 h 13716000"/>
              <a:gd name="connsiteX3" fmla="*/ 0 w 14983580"/>
              <a:gd name="connsiteY3" fmla="*/ 13716000 h 13716000"/>
              <a:gd name="connsiteX4" fmla="*/ 0 w 14983580"/>
              <a:gd name="connsiteY4" fmla="*/ 0 h 13716000"/>
              <a:gd name="connsiteX0" fmla="*/ 6415790 w 14983580"/>
              <a:gd name="connsiteY0" fmla="*/ 0 h 13730990"/>
              <a:gd name="connsiteX1" fmla="*/ 14983580 w 14983580"/>
              <a:gd name="connsiteY1" fmla="*/ 14990 h 13730990"/>
              <a:gd name="connsiteX2" fmla="*/ 14983580 w 14983580"/>
              <a:gd name="connsiteY2" fmla="*/ 13730990 h 13730990"/>
              <a:gd name="connsiteX3" fmla="*/ 0 w 14983580"/>
              <a:gd name="connsiteY3" fmla="*/ 13730990 h 13730990"/>
              <a:gd name="connsiteX4" fmla="*/ 6415790 w 14983580"/>
              <a:gd name="connsiteY4" fmla="*/ 0 h 13730990"/>
              <a:gd name="connsiteX0" fmla="*/ 6817788 w 15385578"/>
              <a:gd name="connsiteY0" fmla="*/ 0 h 13730990"/>
              <a:gd name="connsiteX1" fmla="*/ 15385578 w 15385578"/>
              <a:gd name="connsiteY1" fmla="*/ 14990 h 13730990"/>
              <a:gd name="connsiteX2" fmla="*/ 15385578 w 15385578"/>
              <a:gd name="connsiteY2" fmla="*/ 13730990 h 13730990"/>
              <a:gd name="connsiteX3" fmla="*/ 0 w 15385578"/>
              <a:gd name="connsiteY3" fmla="*/ 13730990 h 13730990"/>
              <a:gd name="connsiteX4" fmla="*/ 6817788 w 15385578"/>
              <a:gd name="connsiteY4" fmla="*/ 0 h 13730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5578" h="13730990">
                <a:moveTo>
                  <a:pt x="6817788" y="0"/>
                </a:moveTo>
                <a:lnTo>
                  <a:pt x="15385578" y="14990"/>
                </a:lnTo>
                <a:lnTo>
                  <a:pt x="15385578" y="13730990"/>
                </a:lnTo>
                <a:lnTo>
                  <a:pt x="0" y="13730990"/>
                </a:lnTo>
                <a:lnTo>
                  <a:pt x="6817788" y="0"/>
                </a:lnTo>
                <a:close/>
              </a:path>
            </a:pathLst>
          </a:custGeo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34298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28D6BFB-8843-BD41-A84C-4EBA787A382F}"/>
              </a:ext>
            </a:extLst>
          </p:cNvPr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838256" y="1796258"/>
            <a:ext cx="10515491" cy="416718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2E318A0-E452-8C40-AC3C-8D3027CB40F5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 bwMode="gray">
          <a:xfrm>
            <a:off x="838256" y="1462358"/>
            <a:ext cx="10515491" cy="342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n-lt"/>
              </a:defRPr>
            </a:lvl1pPr>
          </a:lstStyle>
          <a:p>
            <a:pPr lvl="0"/>
            <a:r>
              <a:rPr lang="en-GB"/>
              <a:t>Untertitel</a:t>
            </a:r>
            <a:endParaRPr lang="en-GB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5C40B2C-F5FB-43EF-A31E-CFB90624D88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9C859D4-B6EC-4950-B09A-8B32A0B59F33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2FC18C4-F874-43DB-9962-7E19A602AD44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6200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xt-Bild-Komb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B29F9CD-67E6-420F-B75D-295A8A7C003A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>
          <a:xfrm>
            <a:off x="838202" y="1797052"/>
            <a:ext cx="5079566" cy="4083049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  <a:p>
            <a:pPr lvl="3"/>
            <a:r>
              <a:rPr lang="en-US" dirty="0" err="1"/>
              <a:t>Vierte</a:t>
            </a:r>
            <a:r>
              <a:rPr lang="en-US" dirty="0"/>
              <a:t> Ebene</a:t>
            </a:r>
          </a:p>
          <a:p>
            <a:pPr lvl="4"/>
            <a:r>
              <a:rPr lang="en-US" dirty="0" err="1"/>
              <a:t>Fünfte</a:t>
            </a:r>
            <a:r>
              <a:rPr lang="en-US" dirty="0"/>
              <a:t>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6B8F30-7F3C-1E4E-87CF-D569AACE68BC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DCB4053-535D-E042-A6D5-68E70EAB654A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838199" y="1452600"/>
            <a:ext cx="5075636" cy="3438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 i="0">
                <a:solidFill>
                  <a:srgbClr val="E52027"/>
                </a:solidFill>
                <a:latin typeface="+mj-lt"/>
              </a:defRPr>
            </a:lvl1pPr>
            <a:lvl2pPr marL="457166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2" indent="0">
              <a:buNone/>
              <a:defRPr sz="1600" b="1"/>
            </a:lvl5pPr>
            <a:lvl6pPr marL="2285828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marL="0" marR="0" lvl="0" indent="0" algn="l" defTabSz="91433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Untertitel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36477A2-4192-634F-86C3-9443596864D5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© Schrack Seconet AG 2021 – International template – Edit footer via "Insert / Header &amp; Footer"</a:t>
            </a:r>
            <a:endParaRPr lang="en-US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25E1697D-8B5D-4274-A93A-8DF34C4A857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14" name="Bildplatzhalter 31">
            <a:extLst>
              <a:ext uri="{FF2B5EF4-FFF2-40B4-BE49-F238E27FC236}">
                <a16:creationId xmlns:a16="http://schemas.microsoft.com/office/drawing/2014/main" id="{AB26544C-31F1-49DE-97F9-CFB3F20E273A}"/>
              </a:ext>
            </a:extLst>
          </p:cNvPr>
          <p:cNvSpPr>
            <a:spLocks noGrp="1"/>
          </p:cNvSpPr>
          <p:nvPr>
            <p:ph type="pic" sz="quarter" idx="32" hasCustomPrompt="1"/>
            <p:custDataLst>
              <p:tags r:id="rId6"/>
            </p:custDataLst>
          </p:nvPr>
        </p:nvSpPr>
        <p:spPr>
          <a:xfrm>
            <a:off x="10973515" y="0"/>
            <a:ext cx="907259" cy="90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/>
              <a:t>Bereichs-Kennzeichnung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85FF78B1-0CB2-4789-A7BA-13EF9ACFDC61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7"/>
            </p:custDataLst>
          </p:nvPr>
        </p:nvSpPr>
        <p:spPr>
          <a:xfrm>
            <a:off x="4900560" y="6245"/>
            <a:ext cx="7291440" cy="6876000"/>
          </a:xfrm>
          <a:custGeom>
            <a:avLst/>
            <a:gdLst>
              <a:gd name="connsiteX0" fmla="*/ 0 w 14983580"/>
              <a:gd name="connsiteY0" fmla="*/ 0 h 13716000"/>
              <a:gd name="connsiteX1" fmla="*/ 14983580 w 14983580"/>
              <a:gd name="connsiteY1" fmla="*/ 0 h 13716000"/>
              <a:gd name="connsiteX2" fmla="*/ 14983580 w 14983580"/>
              <a:gd name="connsiteY2" fmla="*/ 13716000 h 13716000"/>
              <a:gd name="connsiteX3" fmla="*/ 0 w 14983580"/>
              <a:gd name="connsiteY3" fmla="*/ 13716000 h 13716000"/>
              <a:gd name="connsiteX4" fmla="*/ 0 w 14983580"/>
              <a:gd name="connsiteY4" fmla="*/ 0 h 13716000"/>
              <a:gd name="connsiteX0" fmla="*/ 6415790 w 14983580"/>
              <a:gd name="connsiteY0" fmla="*/ 0 h 13730990"/>
              <a:gd name="connsiteX1" fmla="*/ 14983580 w 14983580"/>
              <a:gd name="connsiteY1" fmla="*/ 14990 h 13730990"/>
              <a:gd name="connsiteX2" fmla="*/ 14983580 w 14983580"/>
              <a:gd name="connsiteY2" fmla="*/ 13730990 h 13730990"/>
              <a:gd name="connsiteX3" fmla="*/ 0 w 14983580"/>
              <a:gd name="connsiteY3" fmla="*/ 13730990 h 13730990"/>
              <a:gd name="connsiteX4" fmla="*/ 6415790 w 14983580"/>
              <a:gd name="connsiteY4" fmla="*/ 0 h 13730990"/>
              <a:gd name="connsiteX0" fmla="*/ 6817788 w 15385578"/>
              <a:gd name="connsiteY0" fmla="*/ 0 h 13730990"/>
              <a:gd name="connsiteX1" fmla="*/ 15385578 w 15385578"/>
              <a:gd name="connsiteY1" fmla="*/ 14990 h 13730990"/>
              <a:gd name="connsiteX2" fmla="*/ 15385578 w 15385578"/>
              <a:gd name="connsiteY2" fmla="*/ 13730990 h 13730990"/>
              <a:gd name="connsiteX3" fmla="*/ 0 w 15385578"/>
              <a:gd name="connsiteY3" fmla="*/ 13730990 h 13730990"/>
              <a:gd name="connsiteX4" fmla="*/ 6817788 w 15385578"/>
              <a:gd name="connsiteY4" fmla="*/ 0 h 13730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5578" h="13730990">
                <a:moveTo>
                  <a:pt x="6817788" y="0"/>
                </a:moveTo>
                <a:lnTo>
                  <a:pt x="15385578" y="14990"/>
                </a:lnTo>
                <a:lnTo>
                  <a:pt x="15385578" y="13730990"/>
                </a:lnTo>
                <a:lnTo>
                  <a:pt x="0" y="13730990"/>
                </a:lnTo>
                <a:lnTo>
                  <a:pt x="6817788" y="0"/>
                </a:lnTo>
                <a:close/>
              </a:path>
            </a:pathLst>
          </a:custGeo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43089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alseite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94FC6CD-ECD3-4D8C-9C76-1C393F8EBA4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670357" y="-1"/>
            <a:ext cx="7521644" cy="685718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CF5D34B-50FC-4C8C-BA80-9708679A656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white">
          <a:xfrm>
            <a:off x="844549" y="3308354"/>
            <a:ext cx="10501314" cy="1531777"/>
          </a:xfrm>
          <a:noFill/>
          <a:ln/>
          <a:effectLst>
            <a:outerShdw sx="0" sy="0" rotWithShape="0">
              <a:srgbClr val="000000"/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anchor="b"/>
          <a:lstStyle>
            <a:lvl1pPr marL="0" indent="0" algn="l">
              <a:lnSpc>
                <a:spcPts val="3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 kumimoji="0" sz="3200" b="1" i="0" u="none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C02622B3-B8E9-4F0B-B9F4-8658C91DF8B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white">
          <a:xfrm>
            <a:off x="844549" y="5244635"/>
            <a:ext cx="10515599" cy="585525"/>
          </a:xfrm>
          <a:prstGeom prst="rect">
            <a:avLst/>
          </a:prstGeom>
          <a:noFill/>
          <a:ln/>
          <a:effectLst>
            <a:outerShdw sx="0" sy="0" rotWithShape="0">
              <a:srgbClr val="000000"/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anchor="t"/>
          <a:lstStyle>
            <a:lvl1pPr marL="0" indent="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 kumimoji="0" sz="2400" b="0" i="0" u="none" baseline="0">
                <a:solidFill>
                  <a:srgbClr val="FFFFFF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GB" dirty="0"/>
          </a:p>
        </p:txBody>
      </p:sp>
      <p:cxnSp>
        <p:nvCxnSpPr>
          <p:cNvPr id="9" name="Gerade Verbindung 6">
            <a:extLst>
              <a:ext uri="{FF2B5EF4-FFF2-40B4-BE49-F238E27FC236}">
                <a16:creationId xmlns:a16="http://schemas.microsoft.com/office/drawing/2014/main" id="{8CDF5107-AA66-4DFA-A1F2-36FD4B251EA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 bwMode="ltGray">
          <a:xfrm>
            <a:off x="838550" y="5076540"/>
            <a:ext cx="2070135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9628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alseite mit Logo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94FC6CD-ECD3-4D8C-9C76-1C393F8EBA4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ltGray">
          <a:xfrm>
            <a:off x="4670357" y="-1"/>
            <a:ext cx="7521644" cy="685718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CF5D34B-50FC-4C8C-BA80-9708679A656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white">
          <a:xfrm>
            <a:off x="844549" y="3308354"/>
            <a:ext cx="10501314" cy="1531777"/>
          </a:xfrm>
          <a:noFill/>
          <a:ln/>
          <a:effectLst>
            <a:outerShdw sx="0" sy="0" rotWithShape="0">
              <a:srgbClr val="000000"/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anchor="b"/>
          <a:lstStyle>
            <a:lvl1pPr marL="0" indent="0" algn="l">
              <a:lnSpc>
                <a:spcPts val="3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 kumimoji="0" sz="3200" b="1" i="0" u="none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C02622B3-B8E9-4F0B-B9F4-8658C91DF8B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white">
          <a:xfrm>
            <a:off x="844549" y="5244635"/>
            <a:ext cx="10515599" cy="585525"/>
          </a:xfrm>
          <a:prstGeom prst="rect">
            <a:avLst/>
          </a:prstGeom>
          <a:noFill/>
          <a:ln/>
          <a:effectLst>
            <a:outerShdw sx="0" sy="0" rotWithShape="0">
              <a:srgbClr val="000000"/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anchor="t"/>
          <a:lstStyle>
            <a:lvl1pPr marL="0" indent="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 kumimoji="0" sz="2400" b="0" i="0" u="none" baseline="0">
                <a:solidFill>
                  <a:srgbClr val="FFFFFF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GB" dirty="0"/>
          </a:p>
        </p:txBody>
      </p:sp>
      <p:cxnSp>
        <p:nvCxnSpPr>
          <p:cNvPr id="9" name="Gerade Verbindung 6">
            <a:extLst>
              <a:ext uri="{FF2B5EF4-FFF2-40B4-BE49-F238E27FC236}">
                <a16:creationId xmlns:a16="http://schemas.microsoft.com/office/drawing/2014/main" id="{8CDF5107-AA66-4DFA-A1F2-36FD4B251EA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 bwMode="ltGray">
          <a:xfrm>
            <a:off x="838550" y="5076540"/>
            <a:ext cx="2070135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afik 8">
            <a:extLst>
              <a:ext uri="{FF2B5EF4-FFF2-40B4-BE49-F238E27FC236}">
                <a16:creationId xmlns:a16="http://schemas.microsoft.com/office/drawing/2014/main" id="{071B0974-773D-4F4A-B0FF-E694A6C6F354}"/>
              </a:ext>
            </a:extLst>
          </p:cNvPr>
          <p:cNvGrpSpPr/>
          <p:nvPr userDrawn="1">
            <p:custDataLst>
              <p:tags r:id="rId5"/>
            </p:custDataLst>
          </p:nvPr>
        </p:nvGrpSpPr>
        <p:grpSpPr bwMode="gray">
          <a:xfrm>
            <a:off x="849418" y="755941"/>
            <a:ext cx="2068329" cy="602611"/>
            <a:chOff x="4005262" y="2405061"/>
            <a:chExt cx="1134427" cy="330517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A56F805-1DCC-4D54-8E46-7FBED726132C}"/>
                </a:ext>
              </a:extLst>
            </p:cNvPr>
            <p:cNvSpPr/>
            <p:nvPr/>
          </p:nvSpPr>
          <p:spPr bwMode="gray">
            <a:xfrm>
              <a:off x="4092891" y="2406967"/>
              <a:ext cx="153352" cy="140017"/>
            </a:xfrm>
            <a:custGeom>
              <a:avLst/>
              <a:gdLst>
                <a:gd name="connsiteX0" fmla="*/ 58103 w 153352"/>
                <a:gd name="connsiteY0" fmla="*/ 54293 h 140017"/>
                <a:gd name="connsiteX1" fmla="*/ 46673 w 153352"/>
                <a:gd name="connsiteY1" fmla="*/ 42863 h 140017"/>
                <a:gd name="connsiteX2" fmla="*/ 58103 w 153352"/>
                <a:gd name="connsiteY2" fmla="*/ 31433 h 140017"/>
                <a:gd name="connsiteX3" fmla="*/ 138113 w 153352"/>
                <a:gd name="connsiteY3" fmla="*/ 31433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2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2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2 w 153352"/>
                <a:gd name="connsiteY14" fmla="*/ 140018 h 140017"/>
                <a:gd name="connsiteX15" fmla="*/ 139065 w 153352"/>
                <a:gd name="connsiteY15" fmla="*/ 97155 h 140017"/>
                <a:gd name="connsiteX16" fmla="*/ 96202 w 153352"/>
                <a:gd name="connsiteY16" fmla="*/ 54292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3"/>
                  </a:moveTo>
                  <a:cubicBezTo>
                    <a:pt x="51790" y="54293"/>
                    <a:pt x="46673" y="49175"/>
                    <a:pt x="46673" y="42863"/>
                  </a:cubicBezTo>
                  <a:cubicBezTo>
                    <a:pt x="46673" y="36550"/>
                    <a:pt x="51790" y="31433"/>
                    <a:pt x="58103" y="31433"/>
                  </a:cubicBezTo>
                  <a:lnTo>
                    <a:pt x="138113" y="31433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2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2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2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2"/>
                    <a:pt x="96202" y="5429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D386D9F-D858-449C-A2E0-5CEB7D86E9C9}"/>
                </a:ext>
              </a:extLst>
            </p:cNvPr>
            <p:cNvSpPr/>
            <p:nvPr/>
          </p:nvSpPr>
          <p:spPr bwMode="gray">
            <a:xfrm>
              <a:off x="4704397" y="2407919"/>
              <a:ext cx="143827" cy="139064"/>
            </a:xfrm>
            <a:custGeom>
              <a:avLst/>
              <a:gdLst>
                <a:gd name="connsiteX0" fmla="*/ 50482 w 143827"/>
                <a:gd name="connsiteY0" fmla="*/ 88583 h 139064"/>
                <a:gd name="connsiteX1" fmla="*/ 50482 w 143827"/>
                <a:gd name="connsiteY1" fmla="*/ 88583 h 139064"/>
                <a:gd name="connsiteX2" fmla="*/ 71438 w 143827"/>
                <a:gd name="connsiteY2" fmla="*/ 32385 h 139064"/>
                <a:gd name="connsiteX3" fmla="*/ 72390 w 143827"/>
                <a:gd name="connsiteY3" fmla="*/ 32385 h 139064"/>
                <a:gd name="connsiteX4" fmla="*/ 93345 w 143827"/>
                <a:gd name="connsiteY4" fmla="*/ 88583 h 139064"/>
                <a:gd name="connsiteX5" fmla="*/ 50482 w 143827"/>
                <a:gd name="connsiteY5" fmla="*/ 88583 h 139064"/>
                <a:gd name="connsiteX6" fmla="*/ 49530 w 143827"/>
                <a:gd name="connsiteY6" fmla="*/ 0 h 139064"/>
                <a:gd name="connsiteX7" fmla="*/ 0 w 143827"/>
                <a:gd name="connsiteY7" fmla="*/ 139065 h 139064"/>
                <a:gd name="connsiteX8" fmla="*/ 33338 w 143827"/>
                <a:gd name="connsiteY8" fmla="*/ 139065 h 139064"/>
                <a:gd name="connsiteX9" fmla="*/ 40957 w 143827"/>
                <a:gd name="connsiteY9" fmla="*/ 118110 h 139064"/>
                <a:gd name="connsiteX10" fmla="*/ 102870 w 143827"/>
                <a:gd name="connsiteY10" fmla="*/ 118110 h 139064"/>
                <a:gd name="connsiteX11" fmla="*/ 110490 w 143827"/>
                <a:gd name="connsiteY11" fmla="*/ 139065 h 139064"/>
                <a:gd name="connsiteX12" fmla="*/ 143827 w 143827"/>
                <a:gd name="connsiteY12" fmla="*/ 139065 h 139064"/>
                <a:gd name="connsiteX13" fmla="*/ 94298 w 143827"/>
                <a:gd name="connsiteY13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3827" h="139064">
                  <a:moveTo>
                    <a:pt x="50482" y="88583"/>
                  </a:moveTo>
                  <a:lnTo>
                    <a:pt x="50482" y="88583"/>
                  </a:lnTo>
                  <a:lnTo>
                    <a:pt x="71438" y="32385"/>
                  </a:lnTo>
                  <a:lnTo>
                    <a:pt x="72390" y="32385"/>
                  </a:lnTo>
                  <a:lnTo>
                    <a:pt x="93345" y="88583"/>
                  </a:lnTo>
                  <a:lnTo>
                    <a:pt x="50482" y="88583"/>
                  </a:lnTo>
                  <a:close/>
                  <a:moveTo>
                    <a:pt x="49530" y="0"/>
                  </a:moveTo>
                  <a:lnTo>
                    <a:pt x="0" y="139065"/>
                  </a:lnTo>
                  <a:lnTo>
                    <a:pt x="33338" y="139065"/>
                  </a:lnTo>
                  <a:lnTo>
                    <a:pt x="40957" y="118110"/>
                  </a:lnTo>
                  <a:lnTo>
                    <a:pt x="102870" y="118110"/>
                  </a:lnTo>
                  <a:lnTo>
                    <a:pt x="110490" y="139065"/>
                  </a:lnTo>
                  <a:lnTo>
                    <a:pt x="143827" y="139065"/>
                  </a:lnTo>
                  <a:lnTo>
                    <a:pt x="94298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0A365614-DDE1-421D-82DF-ECA810AD4493}"/>
                </a:ext>
              </a:extLst>
            </p:cNvPr>
            <p:cNvSpPr/>
            <p:nvPr/>
          </p:nvSpPr>
          <p:spPr bwMode="gray">
            <a:xfrm>
              <a:off x="4408169" y="2407919"/>
              <a:ext cx="126682" cy="139064"/>
            </a:xfrm>
            <a:custGeom>
              <a:avLst/>
              <a:gdLst>
                <a:gd name="connsiteX0" fmla="*/ 95250 w 126682"/>
                <a:gd name="connsiteY0" fmla="*/ 54293 h 139064"/>
                <a:gd name="connsiteX1" fmla="*/ 31432 w 126682"/>
                <a:gd name="connsiteY1" fmla="*/ 54293 h 139064"/>
                <a:gd name="connsiteX2" fmla="*/ 31432 w 126682"/>
                <a:gd name="connsiteY2" fmla="*/ 0 h 139064"/>
                <a:gd name="connsiteX3" fmla="*/ 0 w 126682"/>
                <a:gd name="connsiteY3" fmla="*/ 0 h 139064"/>
                <a:gd name="connsiteX4" fmla="*/ 0 w 126682"/>
                <a:gd name="connsiteY4" fmla="*/ 139065 h 139064"/>
                <a:gd name="connsiteX5" fmla="*/ 31432 w 126682"/>
                <a:gd name="connsiteY5" fmla="*/ 139065 h 139064"/>
                <a:gd name="connsiteX6" fmla="*/ 31432 w 126682"/>
                <a:gd name="connsiteY6" fmla="*/ 85725 h 139064"/>
                <a:gd name="connsiteX7" fmla="*/ 95250 w 126682"/>
                <a:gd name="connsiteY7" fmla="*/ 85725 h 139064"/>
                <a:gd name="connsiteX8" fmla="*/ 95250 w 126682"/>
                <a:gd name="connsiteY8" fmla="*/ 139065 h 139064"/>
                <a:gd name="connsiteX9" fmla="*/ 126682 w 126682"/>
                <a:gd name="connsiteY9" fmla="*/ 139065 h 139064"/>
                <a:gd name="connsiteX10" fmla="*/ 126682 w 126682"/>
                <a:gd name="connsiteY10" fmla="*/ 0 h 139064"/>
                <a:gd name="connsiteX11" fmla="*/ 95250 w 126682"/>
                <a:gd name="connsiteY11" fmla="*/ 0 h 139064"/>
                <a:gd name="connsiteX12" fmla="*/ 95250 w 126682"/>
                <a:gd name="connsiteY12" fmla="*/ 5429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682" h="139064">
                  <a:moveTo>
                    <a:pt x="95250" y="54293"/>
                  </a:moveTo>
                  <a:lnTo>
                    <a:pt x="31432" y="54293"/>
                  </a:lnTo>
                  <a:lnTo>
                    <a:pt x="31432" y="0"/>
                  </a:ln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85725"/>
                  </a:lnTo>
                  <a:lnTo>
                    <a:pt x="95250" y="85725"/>
                  </a:lnTo>
                  <a:lnTo>
                    <a:pt x="95250" y="139065"/>
                  </a:lnTo>
                  <a:lnTo>
                    <a:pt x="126682" y="139065"/>
                  </a:lnTo>
                  <a:lnTo>
                    <a:pt x="126682" y="0"/>
                  </a:lnTo>
                  <a:lnTo>
                    <a:pt x="95250" y="0"/>
                  </a:lnTo>
                  <a:lnTo>
                    <a:pt x="95250" y="5429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37F1926-B787-4338-B771-22510474C47A}"/>
                </a:ext>
              </a:extLst>
            </p:cNvPr>
            <p:cNvSpPr/>
            <p:nvPr/>
          </p:nvSpPr>
          <p:spPr bwMode="gray">
            <a:xfrm>
              <a:off x="5043487" y="2407919"/>
              <a:ext cx="96202" cy="139064"/>
            </a:xfrm>
            <a:custGeom>
              <a:avLst/>
              <a:gdLst>
                <a:gd name="connsiteX0" fmla="*/ 55245 w 96202"/>
                <a:gd name="connsiteY0" fmla="*/ 0 h 139064"/>
                <a:gd name="connsiteX1" fmla="*/ 0 w 96202"/>
                <a:gd name="connsiteY1" fmla="*/ 69533 h 139064"/>
                <a:gd name="connsiteX2" fmla="*/ 55245 w 96202"/>
                <a:gd name="connsiteY2" fmla="*/ 139065 h 139064"/>
                <a:gd name="connsiteX3" fmla="*/ 96202 w 96202"/>
                <a:gd name="connsiteY3" fmla="*/ 139065 h 139064"/>
                <a:gd name="connsiteX4" fmla="*/ 40958 w 96202"/>
                <a:gd name="connsiteY4" fmla="*/ 69533 h 139064"/>
                <a:gd name="connsiteX5" fmla="*/ 96202 w 96202"/>
                <a:gd name="connsiteY5" fmla="*/ 0 h 139064"/>
                <a:gd name="connsiteX6" fmla="*/ 55245 w 96202"/>
                <a:gd name="connsiteY6" fmla="*/ 0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202" h="139064">
                  <a:moveTo>
                    <a:pt x="55245" y="0"/>
                  </a:moveTo>
                  <a:lnTo>
                    <a:pt x="0" y="69533"/>
                  </a:lnTo>
                  <a:lnTo>
                    <a:pt x="55245" y="139065"/>
                  </a:lnTo>
                  <a:lnTo>
                    <a:pt x="96202" y="139065"/>
                  </a:lnTo>
                  <a:lnTo>
                    <a:pt x="40958" y="69533"/>
                  </a:lnTo>
                  <a:lnTo>
                    <a:pt x="96202" y="0"/>
                  </a:lnTo>
                  <a:lnTo>
                    <a:pt x="55245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15F0DF43-5927-4BF2-9FE2-B2115794A9F7}"/>
                </a:ext>
              </a:extLst>
            </p:cNvPr>
            <p:cNvSpPr/>
            <p:nvPr/>
          </p:nvSpPr>
          <p:spPr bwMode="gray">
            <a:xfrm>
              <a:off x="5007292" y="2407919"/>
              <a:ext cx="31432" cy="139065"/>
            </a:xfrm>
            <a:custGeom>
              <a:avLst/>
              <a:gdLst>
                <a:gd name="connsiteX0" fmla="*/ 0 w 31432"/>
                <a:gd name="connsiteY0" fmla="*/ 0 h 139065"/>
                <a:gd name="connsiteX1" fmla="*/ 31433 w 31432"/>
                <a:gd name="connsiteY1" fmla="*/ 0 h 139065"/>
                <a:gd name="connsiteX2" fmla="*/ 31433 w 31432"/>
                <a:gd name="connsiteY2" fmla="*/ 139065 h 139065"/>
                <a:gd name="connsiteX3" fmla="*/ 0 w 31432"/>
                <a:gd name="connsiteY3" fmla="*/ 139065 h 13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" h="139065">
                  <a:moveTo>
                    <a:pt x="0" y="0"/>
                  </a:moveTo>
                  <a:lnTo>
                    <a:pt x="31433" y="0"/>
                  </a:lnTo>
                  <a:lnTo>
                    <a:pt x="31433" y="139065"/>
                  </a:lnTo>
                  <a:lnTo>
                    <a:pt x="0" y="13906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106B2D66-8493-4145-A878-96EEA45D7DE6}"/>
                </a:ext>
              </a:extLst>
            </p:cNvPr>
            <p:cNvSpPr/>
            <p:nvPr/>
          </p:nvSpPr>
          <p:spPr bwMode="gray">
            <a:xfrm>
              <a:off x="4565331" y="2407919"/>
              <a:ext cx="126682" cy="139064"/>
            </a:xfrm>
            <a:custGeom>
              <a:avLst/>
              <a:gdLst>
                <a:gd name="connsiteX0" fmla="*/ 31432 w 126682"/>
                <a:gd name="connsiteY0" fmla="*/ 31433 h 139064"/>
                <a:gd name="connsiteX1" fmla="*/ 77153 w 126682"/>
                <a:gd name="connsiteY1" fmla="*/ 31433 h 139064"/>
                <a:gd name="connsiteX2" fmla="*/ 92393 w 126682"/>
                <a:gd name="connsiteY2" fmla="*/ 46673 h 139064"/>
                <a:gd name="connsiteX3" fmla="*/ 77153 w 126682"/>
                <a:gd name="connsiteY3" fmla="*/ 61913 h 139064"/>
                <a:gd name="connsiteX4" fmla="*/ 31432 w 126682"/>
                <a:gd name="connsiteY4" fmla="*/ 61913 h 139064"/>
                <a:gd name="connsiteX5" fmla="*/ 123825 w 126682"/>
                <a:gd name="connsiteY5" fmla="*/ 46673 h 139064"/>
                <a:gd name="connsiteX6" fmla="*/ 77153 w 126682"/>
                <a:gd name="connsiteY6" fmla="*/ 0 h 139064"/>
                <a:gd name="connsiteX7" fmla="*/ 0 w 126682"/>
                <a:gd name="connsiteY7" fmla="*/ 0 h 139064"/>
                <a:gd name="connsiteX8" fmla="*/ 0 w 126682"/>
                <a:gd name="connsiteY8" fmla="*/ 139065 h 139064"/>
                <a:gd name="connsiteX9" fmla="*/ 31432 w 126682"/>
                <a:gd name="connsiteY9" fmla="*/ 139065 h 139064"/>
                <a:gd name="connsiteX10" fmla="*/ 31432 w 126682"/>
                <a:gd name="connsiteY10" fmla="*/ 92393 h 139064"/>
                <a:gd name="connsiteX11" fmla="*/ 57150 w 126682"/>
                <a:gd name="connsiteY11" fmla="*/ 92393 h 139064"/>
                <a:gd name="connsiteX12" fmla="*/ 88582 w 126682"/>
                <a:gd name="connsiteY12" fmla="*/ 139065 h 139064"/>
                <a:gd name="connsiteX13" fmla="*/ 126682 w 126682"/>
                <a:gd name="connsiteY13" fmla="*/ 139065 h 139064"/>
                <a:gd name="connsiteX14" fmla="*/ 93345 w 126682"/>
                <a:gd name="connsiteY14" fmla="*/ 89535 h 139064"/>
                <a:gd name="connsiteX15" fmla="*/ 123825 w 126682"/>
                <a:gd name="connsiteY15" fmla="*/ 46673 h 139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682" h="139064">
                  <a:moveTo>
                    <a:pt x="31432" y="31433"/>
                  </a:moveTo>
                  <a:lnTo>
                    <a:pt x="77153" y="31433"/>
                  </a:lnTo>
                  <a:cubicBezTo>
                    <a:pt x="85569" y="31433"/>
                    <a:pt x="92393" y="38256"/>
                    <a:pt x="92393" y="46673"/>
                  </a:cubicBezTo>
                  <a:cubicBezTo>
                    <a:pt x="92393" y="55089"/>
                    <a:pt x="85569" y="61913"/>
                    <a:pt x="77153" y="61913"/>
                  </a:cubicBezTo>
                  <a:lnTo>
                    <a:pt x="31432" y="61913"/>
                  </a:lnTo>
                  <a:close/>
                  <a:moveTo>
                    <a:pt x="123825" y="46673"/>
                  </a:moveTo>
                  <a:cubicBezTo>
                    <a:pt x="123773" y="20918"/>
                    <a:pt x="102907" y="52"/>
                    <a:pt x="77153" y="0"/>
                  </a:cubicBezTo>
                  <a:lnTo>
                    <a:pt x="0" y="0"/>
                  </a:lnTo>
                  <a:lnTo>
                    <a:pt x="0" y="139065"/>
                  </a:lnTo>
                  <a:lnTo>
                    <a:pt x="31432" y="139065"/>
                  </a:lnTo>
                  <a:lnTo>
                    <a:pt x="31432" y="92393"/>
                  </a:lnTo>
                  <a:lnTo>
                    <a:pt x="57150" y="92393"/>
                  </a:lnTo>
                  <a:lnTo>
                    <a:pt x="88582" y="139065"/>
                  </a:lnTo>
                  <a:lnTo>
                    <a:pt x="126682" y="139065"/>
                  </a:lnTo>
                  <a:lnTo>
                    <a:pt x="93345" y="89535"/>
                  </a:lnTo>
                  <a:cubicBezTo>
                    <a:pt x="111440" y="82990"/>
                    <a:pt x="123584" y="65914"/>
                    <a:pt x="123825" y="4667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1E4576BB-A8E3-4CD6-B0B0-C70BAEBB4DBD}"/>
                </a:ext>
              </a:extLst>
            </p:cNvPr>
            <p:cNvSpPr/>
            <p:nvPr/>
          </p:nvSpPr>
          <p:spPr bwMode="gray">
            <a:xfrm>
              <a:off x="4248149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1816 w 141922"/>
                <a:gd name="connsiteY10" fmla="*/ 31433 h 144780"/>
                <a:gd name="connsiteX11" fmla="*/ 72390 w 141922"/>
                <a:gd name="connsiteY11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274" y="49928"/>
                    <a:pt x="49355" y="31591"/>
                    <a:pt x="71816" y="31433"/>
                  </a:cubicBezTo>
                  <a:cubicBezTo>
                    <a:pt x="72008" y="31431"/>
                    <a:pt x="72199" y="31431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67AE2030-0BE4-4F1C-B7B8-646148B6EEAB}"/>
                </a:ext>
              </a:extLst>
            </p:cNvPr>
            <p:cNvSpPr/>
            <p:nvPr/>
          </p:nvSpPr>
          <p:spPr bwMode="gray">
            <a:xfrm>
              <a:off x="4847272" y="2405061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4444 w 141922"/>
                <a:gd name="connsiteY8" fmla="*/ 109506 h 144780"/>
                <a:gd name="connsiteX9" fmla="*/ 31432 w 141922"/>
                <a:gd name="connsiteY9" fmla="*/ 7239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886" y="110690"/>
                    <a:pt x="74647" y="119205"/>
                    <a:pt x="54444" y="109506"/>
                  </a:cubicBezTo>
                  <a:cubicBezTo>
                    <a:pt x="40202" y="102669"/>
                    <a:pt x="31224" y="88187"/>
                    <a:pt x="31432" y="72390"/>
                  </a:cubicBezTo>
                  <a:cubicBezTo>
                    <a:pt x="31936" y="49982"/>
                    <a:pt x="49982" y="31936"/>
                    <a:pt x="72390" y="31433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124DB36E-B0DE-4D63-8A21-1FFD9F1F78B6}"/>
                </a:ext>
              </a:extLst>
            </p:cNvPr>
            <p:cNvSpPr/>
            <p:nvPr/>
          </p:nvSpPr>
          <p:spPr bwMode="gray">
            <a:xfrm>
              <a:off x="4005262" y="2592704"/>
              <a:ext cx="153352" cy="140017"/>
            </a:xfrm>
            <a:custGeom>
              <a:avLst/>
              <a:gdLst>
                <a:gd name="connsiteX0" fmla="*/ 58103 w 153352"/>
                <a:gd name="connsiteY0" fmla="*/ 54292 h 140017"/>
                <a:gd name="connsiteX1" fmla="*/ 46673 w 153352"/>
                <a:gd name="connsiteY1" fmla="*/ 42862 h 140017"/>
                <a:gd name="connsiteX2" fmla="*/ 58103 w 153352"/>
                <a:gd name="connsiteY2" fmla="*/ 31432 h 140017"/>
                <a:gd name="connsiteX3" fmla="*/ 138113 w 153352"/>
                <a:gd name="connsiteY3" fmla="*/ 31432 h 140017"/>
                <a:gd name="connsiteX4" fmla="*/ 153353 w 153352"/>
                <a:gd name="connsiteY4" fmla="*/ 0 h 140017"/>
                <a:gd name="connsiteX5" fmla="*/ 58103 w 153352"/>
                <a:gd name="connsiteY5" fmla="*/ 0 h 140017"/>
                <a:gd name="connsiteX6" fmla="*/ 15240 w 153352"/>
                <a:gd name="connsiteY6" fmla="*/ 42863 h 140017"/>
                <a:gd name="connsiteX7" fmla="*/ 58103 w 153352"/>
                <a:gd name="connsiteY7" fmla="*/ 85725 h 140017"/>
                <a:gd name="connsiteX8" fmla="*/ 96203 w 153352"/>
                <a:gd name="connsiteY8" fmla="*/ 85725 h 140017"/>
                <a:gd name="connsiteX9" fmla="*/ 107633 w 153352"/>
                <a:gd name="connsiteY9" fmla="*/ 97155 h 140017"/>
                <a:gd name="connsiteX10" fmla="*/ 96978 w 153352"/>
                <a:gd name="connsiteY10" fmla="*/ 108585 h 140017"/>
                <a:gd name="connsiteX11" fmla="*/ 96203 w 153352"/>
                <a:gd name="connsiteY11" fmla="*/ 108585 h 140017"/>
                <a:gd name="connsiteX12" fmla="*/ 15240 w 153352"/>
                <a:gd name="connsiteY12" fmla="*/ 108585 h 140017"/>
                <a:gd name="connsiteX13" fmla="*/ 0 w 153352"/>
                <a:gd name="connsiteY13" fmla="*/ 140018 h 140017"/>
                <a:gd name="connsiteX14" fmla="*/ 96203 w 153352"/>
                <a:gd name="connsiteY14" fmla="*/ 140018 h 140017"/>
                <a:gd name="connsiteX15" fmla="*/ 139065 w 153352"/>
                <a:gd name="connsiteY15" fmla="*/ 97155 h 140017"/>
                <a:gd name="connsiteX16" fmla="*/ 96203 w 153352"/>
                <a:gd name="connsiteY16" fmla="*/ 5429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3352" h="140017">
                  <a:moveTo>
                    <a:pt x="58103" y="54292"/>
                  </a:moveTo>
                  <a:cubicBezTo>
                    <a:pt x="51790" y="54292"/>
                    <a:pt x="46673" y="49175"/>
                    <a:pt x="46673" y="42862"/>
                  </a:cubicBezTo>
                  <a:cubicBezTo>
                    <a:pt x="46673" y="36550"/>
                    <a:pt x="51790" y="31432"/>
                    <a:pt x="58103" y="31432"/>
                  </a:cubicBezTo>
                  <a:lnTo>
                    <a:pt x="138113" y="31432"/>
                  </a:lnTo>
                  <a:lnTo>
                    <a:pt x="153353" y="0"/>
                  </a:lnTo>
                  <a:lnTo>
                    <a:pt x="58103" y="0"/>
                  </a:lnTo>
                  <a:cubicBezTo>
                    <a:pt x="34430" y="0"/>
                    <a:pt x="15240" y="19190"/>
                    <a:pt x="15240" y="42863"/>
                  </a:cubicBezTo>
                  <a:cubicBezTo>
                    <a:pt x="15240" y="66535"/>
                    <a:pt x="34430" y="85725"/>
                    <a:pt x="58103" y="85725"/>
                  </a:cubicBezTo>
                  <a:lnTo>
                    <a:pt x="96203" y="85725"/>
                  </a:lnTo>
                  <a:cubicBezTo>
                    <a:pt x="102472" y="85827"/>
                    <a:pt x="107531" y="90885"/>
                    <a:pt x="107633" y="97155"/>
                  </a:cubicBezTo>
                  <a:cubicBezTo>
                    <a:pt x="107847" y="103253"/>
                    <a:pt x="103077" y="108371"/>
                    <a:pt x="96978" y="108585"/>
                  </a:cubicBezTo>
                  <a:cubicBezTo>
                    <a:pt x="96720" y="108594"/>
                    <a:pt x="96461" y="108594"/>
                    <a:pt x="96203" y="108585"/>
                  </a:cubicBezTo>
                  <a:lnTo>
                    <a:pt x="15240" y="108585"/>
                  </a:lnTo>
                  <a:lnTo>
                    <a:pt x="0" y="140018"/>
                  </a:lnTo>
                  <a:lnTo>
                    <a:pt x="96203" y="140018"/>
                  </a:lnTo>
                  <a:cubicBezTo>
                    <a:pt x="119875" y="140018"/>
                    <a:pt x="139065" y="120827"/>
                    <a:pt x="139065" y="97155"/>
                  </a:cubicBezTo>
                  <a:cubicBezTo>
                    <a:pt x="139065" y="73483"/>
                    <a:pt x="119875" y="54293"/>
                    <a:pt x="96203" y="54293"/>
                  </a:cubicBez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D6FF9E24-FC2D-49CD-BA96-E979969B1A04}"/>
                </a:ext>
              </a:extLst>
            </p:cNvPr>
            <p:cNvSpPr/>
            <p:nvPr/>
          </p:nvSpPr>
          <p:spPr bwMode="gray">
            <a:xfrm>
              <a:off x="4914899" y="2592704"/>
              <a:ext cx="124777" cy="140017"/>
            </a:xfrm>
            <a:custGeom>
              <a:avLst/>
              <a:gdLst>
                <a:gd name="connsiteX0" fmla="*/ 0 w 124777"/>
                <a:gd name="connsiteY0" fmla="*/ 0 h 140017"/>
                <a:gd name="connsiteX1" fmla="*/ 0 w 124777"/>
                <a:gd name="connsiteY1" fmla="*/ 32385 h 140017"/>
                <a:gd name="connsiteX2" fmla="*/ 46673 w 124777"/>
                <a:gd name="connsiteY2" fmla="*/ 32385 h 140017"/>
                <a:gd name="connsiteX3" fmla="*/ 46673 w 124777"/>
                <a:gd name="connsiteY3" fmla="*/ 140018 h 140017"/>
                <a:gd name="connsiteX4" fmla="*/ 78105 w 124777"/>
                <a:gd name="connsiteY4" fmla="*/ 140018 h 140017"/>
                <a:gd name="connsiteX5" fmla="*/ 78105 w 124777"/>
                <a:gd name="connsiteY5" fmla="*/ 32385 h 140017"/>
                <a:gd name="connsiteX6" fmla="*/ 124777 w 124777"/>
                <a:gd name="connsiteY6" fmla="*/ 32385 h 140017"/>
                <a:gd name="connsiteX7" fmla="*/ 124777 w 124777"/>
                <a:gd name="connsiteY7" fmla="*/ 0 h 140017"/>
                <a:gd name="connsiteX8" fmla="*/ 0 w 124777"/>
                <a:gd name="connsiteY8" fmla="*/ 0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777" h="140017">
                  <a:moveTo>
                    <a:pt x="0" y="0"/>
                  </a:moveTo>
                  <a:lnTo>
                    <a:pt x="0" y="32385"/>
                  </a:lnTo>
                  <a:lnTo>
                    <a:pt x="46673" y="32385"/>
                  </a:lnTo>
                  <a:lnTo>
                    <a:pt x="46673" y="140018"/>
                  </a:lnTo>
                  <a:lnTo>
                    <a:pt x="78105" y="140018"/>
                  </a:lnTo>
                  <a:lnTo>
                    <a:pt x="78105" y="32385"/>
                  </a:lnTo>
                  <a:lnTo>
                    <a:pt x="124777" y="32385"/>
                  </a:lnTo>
                  <a:lnTo>
                    <a:pt x="1247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D39F3729-A722-4995-B038-6707484965B3}"/>
                </a:ext>
              </a:extLst>
            </p:cNvPr>
            <p:cNvSpPr/>
            <p:nvPr/>
          </p:nvSpPr>
          <p:spPr bwMode="gray">
            <a:xfrm>
              <a:off x="4179569" y="2592704"/>
              <a:ext cx="110490" cy="140017"/>
            </a:xfrm>
            <a:custGeom>
              <a:avLst/>
              <a:gdLst>
                <a:gd name="connsiteX0" fmla="*/ 0 w 110490"/>
                <a:gd name="connsiteY0" fmla="*/ 140018 h 140017"/>
                <a:gd name="connsiteX1" fmla="*/ 110490 w 110490"/>
                <a:gd name="connsiteY1" fmla="*/ 140018 h 140017"/>
                <a:gd name="connsiteX2" fmla="*/ 110490 w 110490"/>
                <a:gd name="connsiteY2" fmla="*/ 107632 h 140017"/>
                <a:gd name="connsiteX3" fmla="*/ 32385 w 110490"/>
                <a:gd name="connsiteY3" fmla="*/ 107632 h 140017"/>
                <a:gd name="connsiteX4" fmla="*/ 32385 w 110490"/>
                <a:gd name="connsiteY4" fmla="*/ 84773 h 140017"/>
                <a:gd name="connsiteX5" fmla="*/ 102870 w 110490"/>
                <a:gd name="connsiteY5" fmla="*/ 84773 h 140017"/>
                <a:gd name="connsiteX6" fmla="*/ 102870 w 110490"/>
                <a:gd name="connsiteY6" fmla="*/ 55245 h 140017"/>
                <a:gd name="connsiteX7" fmla="*/ 32385 w 110490"/>
                <a:gd name="connsiteY7" fmla="*/ 55245 h 140017"/>
                <a:gd name="connsiteX8" fmla="*/ 32385 w 110490"/>
                <a:gd name="connsiteY8" fmla="*/ 32385 h 140017"/>
                <a:gd name="connsiteX9" fmla="*/ 110490 w 110490"/>
                <a:gd name="connsiteY9" fmla="*/ 32385 h 140017"/>
                <a:gd name="connsiteX10" fmla="*/ 110490 w 110490"/>
                <a:gd name="connsiteY10" fmla="*/ 0 h 140017"/>
                <a:gd name="connsiteX11" fmla="*/ 0 w 110490"/>
                <a:gd name="connsiteY11" fmla="*/ 0 h 140017"/>
                <a:gd name="connsiteX12" fmla="*/ 0 w 110490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90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9613DB0-015C-44EE-9D15-EC0DAF36F062}"/>
                </a:ext>
              </a:extLst>
            </p:cNvPr>
            <p:cNvSpPr/>
            <p:nvPr/>
          </p:nvSpPr>
          <p:spPr bwMode="gray">
            <a:xfrm>
              <a:off x="4787264" y="2592704"/>
              <a:ext cx="110489" cy="140017"/>
            </a:xfrm>
            <a:custGeom>
              <a:avLst/>
              <a:gdLst>
                <a:gd name="connsiteX0" fmla="*/ 0 w 110489"/>
                <a:gd name="connsiteY0" fmla="*/ 140018 h 140017"/>
                <a:gd name="connsiteX1" fmla="*/ 110490 w 110489"/>
                <a:gd name="connsiteY1" fmla="*/ 140018 h 140017"/>
                <a:gd name="connsiteX2" fmla="*/ 110490 w 110489"/>
                <a:gd name="connsiteY2" fmla="*/ 107632 h 140017"/>
                <a:gd name="connsiteX3" fmla="*/ 32385 w 110489"/>
                <a:gd name="connsiteY3" fmla="*/ 107632 h 140017"/>
                <a:gd name="connsiteX4" fmla="*/ 32385 w 110489"/>
                <a:gd name="connsiteY4" fmla="*/ 84773 h 140017"/>
                <a:gd name="connsiteX5" fmla="*/ 102870 w 110489"/>
                <a:gd name="connsiteY5" fmla="*/ 84773 h 140017"/>
                <a:gd name="connsiteX6" fmla="*/ 102870 w 110489"/>
                <a:gd name="connsiteY6" fmla="*/ 55245 h 140017"/>
                <a:gd name="connsiteX7" fmla="*/ 32385 w 110489"/>
                <a:gd name="connsiteY7" fmla="*/ 55245 h 140017"/>
                <a:gd name="connsiteX8" fmla="*/ 32385 w 110489"/>
                <a:gd name="connsiteY8" fmla="*/ 32385 h 140017"/>
                <a:gd name="connsiteX9" fmla="*/ 110490 w 110489"/>
                <a:gd name="connsiteY9" fmla="*/ 32385 h 140017"/>
                <a:gd name="connsiteX10" fmla="*/ 110490 w 110489"/>
                <a:gd name="connsiteY10" fmla="*/ 0 h 140017"/>
                <a:gd name="connsiteX11" fmla="*/ 0 w 110489"/>
                <a:gd name="connsiteY11" fmla="*/ 0 h 140017"/>
                <a:gd name="connsiteX12" fmla="*/ 0 w 110489"/>
                <a:gd name="connsiteY12" fmla="*/ 140018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489" h="140017">
                  <a:moveTo>
                    <a:pt x="0" y="140018"/>
                  </a:moveTo>
                  <a:lnTo>
                    <a:pt x="110490" y="140018"/>
                  </a:lnTo>
                  <a:lnTo>
                    <a:pt x="110490" y="107632"/>
                  </a:lnTo>
                  <a:lnTo>
                    <a:pt x="32385" y="107632"/>
                  </a:lnTo>
                  <a:lnTo>
                    <a:pt x="32385" y="84773"/>
                  </a:lnTo>
                  <a:lnTo>
                    <a:pt x="102870" y="84773"/>
                  </a:lnTo>
                  <a:lnTo>
                    <a:pt x="102870" y="55245"/>
                  </a:lnTo>
                  <a:lnTo>
                    <a:pt x="32385" y="55245"/>
                  </a:lnTo>
                  <a:lnTo>
                    <a:pt x="32385" y="32385"/>
                  </a:lnTo>
                  <a:lnTo>
                    <a:pt x="110490" y="32385"/>
                  </a:lnTo>
                  <a:lnTo>
                    <a:pt x="110490" y="0"/>
                  </a:lnTo>
                  <a:lnTo>
                    <a:pt x="0" y="0"/>
                  </a:lnTo>
                  <a:lnTo>
                    <a:pt x="0" y="140018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DF4B5DF-0F35-4C52-BA64-B6E931D766FE}"/>
                </a:ext>
              </a:extLst>
            </p:cNvPr>
            <p:cNvSpPr/>
            <p:nvPr/>
          </p:nvSpPr>
          <p:spPr bwMode="gray">
            <a:xfrm>
              <a:off x="4309109" y="2590799"/>
              <a:ext cx="141922" cy="144780"/>
            </a:xfrm>
            <a:custGeom>
              <a:avLst/>
              <a:gdLst>
                <a:gd name="connsiteX0" fmla="*/ 72390 w 141922"/>
                <a:gd name="connsiteY0" fmla="*/ 31433 h 144780"/>
                <a:gd name="connsiteX1" fmla="*/ 108585 w 141922"/>
                <a:gd name="connsiteY1" fmla="*/ 54293 h 144780"/>
                <a:gd name="connsiteX2" fmla="*/ 141923 w 141922"/>
                <a:gd name="connsiteY2" fmla="*/ 54293 h 144780"/>
                <a:gd name="connsiteX3" fmla="*/ 72390 w 141922"/>
                <a:gd name="connsiteY3" fmla="*/ 0 h 144780"/>
                <a:gd name="connsiteX4" fmla="*/ 0 w 141922"/>
                <a:gd name="connsiteY4" fmla="*/ 72390 h 144780"/>
                <a:gd name="connsiteX5" fmla="*/ 72390 w 141922"/>
                <a:gd name="connsiteY5" fmla="*/ 144780 h 144780"/>
                <a:gd name="connsiteX6" fmla="*/ 141923 w 141922"/>
                <a:gd name="connsiteY6" fmla="*/ 90488 h 144780"/>
                <a:gd name="connsiteX7" fmla="*/ 108585 w 141922"/>
                <a:gd name="connsiteY7" fmla="*/ 90488 h 144780"/>
                <a:gd name="connsiteX8" fmla="*/ 53862 w 141922"/>
                <a:gd name="connsiteY8" fmla="*/ 108633 h 144780"/>
                <a:gd name="connsiteX9" fmla="*/ 35716 w 141922"/>
                <a:gd name="connsiteY9" fmla="*/ 53910 h 144780"/>
                <a:gd name="connsiteX10" fmla="*/ 72390 w 141922"/>
                <a:gd name="connsiteY10" fmla="*/ 3143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922" h="144780">
                  <a:moveTo>
                    <a:pt x="72390" y="31433"/>
                  </a:moveTo>
                  <a:cubicBezTo>
                    <a:pt x="87833" y="31505"/>
                    <a:pt x="101883" y="40379"/>
                    <a:pt x="108585" y="54293"/>
                  </a:cubicBezTo>
                  <a:lnTo>
                    <a:pt x="141923" y="54293"/>
                  </a:lnTo>
                  <a:cubicBezTo>
                    <a:pt x="133992" y="22356"/>
                    <a:pt x="105296" y="-50"/>
                    <a:pt x="72390" y="0"/>
                  </a:cubicBez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05296" y="144830"/>
                    <a:pt x="133992" y="122424"/>
                    <a:pt x="141923" y="90488"/>
                  </a:cubicBezTo>
                  <a:lnTo>
                    <a:pt x="108585" y="90488"/>
                  </a:lnTo>
                  <a:cubicBezTo>
                    <a:pt x="98484" y="110610"/>
                    <a:pt x="73984" y="118734"/>
                    <a:pt x="53862" y="108633"/>
                  </a:cubicBezTo>
                  <a:cubicBezTo>
                    <a:pt x="33740" y="98533"/>
                    <a:pt x="25615" y="74032"/>
                    <a:pt x="35716" y="53910"/>
                  </a:cubicBezTo>
                  <a:cubicBezTo>
                    <a:pt x="42672" y="40053"/>
                    <a:pt x="56886" y="31342"/>
                    <a:pt x="72390" y="31433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20CCD21-2923-4253-AAC8-EA179C60C405}"/>
                </a:ext>
              </a:extLst>
            </p:cNvPr>
            <p:cNvSpPr/>
            <p:nvPr/>
          </p:nvSpPr>
          <p:spPr bwMode="gray">
            <a:xfrm>
              <a:off x="4467224" y="2590799"/>
              <a:ext cx="144779" cy="144780"/>
            </a:xfrm>
            <a:custGeom>
              <a:avLst/>
              <a:gdLst>
                <a:gd name="connsiteX0" fmla="*/ 72390 w 144779"/>
                <a:gd name="connsiteY0" fmla="*/ 0 h 144780"/>
                <a:gd name="connsiteX1" fmla="*/ 0 w 144779"/>
                <a:gd name="connsiteY1" fmla="*/ 72390 h 144780"/>
                <a:gd name="connsiteX2" fmla="*/ 72390 w 144779"/>
                <a:gd name="connsiteY2" fmla="*/ 144780 h 144780"/>
                <a:gd name="connsiteX3" fmla="*/ 144780 w 144779"/>
                <a:gd name="connsiteY3" fmla="*/ 72390 h 144780"/>
                <a:gd name="connsiteX4" fmla="*/ 72390 w 144779"/>
                <a:gd name="connsiteY4" fmla="*/ 0 h 144780"/>
                <a:gd name="connsiteX5" fmla="*/ 72390 w 144779"/>
                <a:gd name="connsiteY5" fmla="*/ 112395 h 144780"/>
                <a:gd name="connsiteX6" fmla="*/ 31432 w 144779"/>
                <a:gd name="connsiteY6" fmla="*/ 71438 h 144780"/>
                <a:gd name="connsiteX7" fmla="*/ 72390 w 144779"/>
                <a:gd name="connsiteY7" fmla="*/ 30480 h 144780"/>
                <a:gd name="connsiteX8" fmla="*/ 113347 w 144779"/>
                <a:gd name="connsiteY8" fmla="*/ 71438 h 144780"/>
                <a:gd name="connsiteX9" fmla="*/ 72964 w 144779"/>
                <a:gd name="connsiteY9" fmla="*/ 112395 h 144780"/>
                <a:gd name="connsiteX10" fmla="*/ 72390 w 144779"/>
                <a:gd name="connsiteY10" fmla="*/ 112395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779" h="144780">
                  <a:moveTo>
                    <a:pt x="72390" y="0"/>
                  </a:moveTo>
                  <a:cubicBezTo>
                    <a:pt x="32410" y="0"/>
                    <a:pt x="0" y="32410"/>
                    <a:pt x="0" y="72390"/>
                  </a:cubicBezTo>
                  <a:cubicBezTo>
                    <a:pt x="0" y="112370"/>
                    <a:pt x="32410" y="144780"/>
                    <a:pt x="72390" y="144780"/>
                  </a:cubicBezTo>
                  <a:cubicBezTo>
                    <a:pt x="112370" y="144780"/>
                    <a:pt x="144780" y="112370"/>
                    <a:pt x="144780" y="72390"/>
                  </a:cubicBezTo>
                  <a:cubicBezTo>
                    <a:pt x="144780" y="32410"/>
                    <a:pt x="112370" y="0"/>
                    <a:pt x="72390" y="0"/>
                  </a:cubicBezTo>
                  <a:moveTo>
                    <a:pt x="72390" y="112395"/>
                  </a:moveTo>
                  <a:cubicBezTo>
                    <a:pt x="49770" y="112395"/>
                    <a:pt x="31432" y="94058"/>
                    <a:pt x="31432" y="71438"/>
                  </a:cubicBezTo>
                  <a:cubicBezTo>
                    <a:pt x="31432" y="48817"/>
                    <a:pt x="49770" y="30480"/>
                    <a:pt x="72390" y="30480"/>
                  </a:cubicBezTo>
                  <a:cubicBezTo>
                    <a:pt x="95010" y="30480"/>
                    <a:pt x="113347" y="48817"/>
                    <a:pt x="113347" y="71438"/>
                  </a:cubicBezTo>
                  <a:cubicBezTo>
                    <a:pt x="113506" y="93899"/>
                    <a:pt x="95425" y="112237"/>
                    <a:pt x="72964" y="112395"/>
                  </a:cubicBezTo>
                  <a:cubicBezTo>
                    <a:pt x="72772" y="112396"/>
                    <a:pt x="72581" y="112396"/>
                    <a:pt x="72390" y="112395"/>
                  </a:cubicBezTo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F20139-54DB-4C4F-B220-1C571C9FE0DA}"/>
                </a:ext>
              </a:extLst>
            </p:cNvPr>
            <p:cNvSpPr/>
            <p:nvPr/>
          </p:nvSpPr>
          <p:spPr bwMode="gray">
            <a:xfrm>
              <a:off x="4631054" y="2592704"/>
              <a:ext cx="128587" cy="140017"/>
            </a:xfrm>
            <a:custGeom>
              <a:avLst/>
              <a:gdLst>
                <a:gd name="connsiteX0" fmla="*/ 97155 w 128587"/>
                <a:gd name="connsiteY0" fmla="*/ 84773 h 140017"/>
                <a:gd name="connsiteX1" fmla="*/ 97155 w 128587"/>
                <a:gd name="connsiteY1" fmla="*/ 84773 h 140017"/>
                <a:gd name="connsiteX2" fmla="*/ 97155 w 128587"/>
                <a:gd name="connsiteY2" fmla="*/ 84773 h 140017"/>
                <a:gd name="connsiteX3" fmla="*/ 27623 w 128587"/>
                <a:gd name="connsiteY3" fmla="*/ 0 h 140017"/>
                <a:gd name="connsiteX4" fmla="*/ 0 w 128587"/>
                <a:gd name="connsiteY4" fmla="*/ 0 h 140017"/>
                <a:gd name="connsiteX5" fmla="*/ 0 w 128587"/>
                <a:gd name="connsiteY5" fmla="*/ 140018 h 140017"/>
                <a:gd name="connsiteX6" fmla="*/ 31433 w 128587"/>
                <a:gd name="connsiteY6" fmla="*/ 140018 h 140017"/>
                <a:gd name="connsiteX7" fmla="*/ 31433 w 128587"/>
                <a:gd name="connsiteY7" fmla="*/ 55245 h 140017"/>
                <a:gd name="connsiteX8" fmla="*/ 100965 w 128587"/>
                <a:gd name="connsiteY8" fmla="*/ 140018 h 140017"/>
                <a:gd name="connsiteX9" fmla="*/ 100965 w 128587"/>
                <a:gd name="connsiteY9" fmla="*/ 140018 h 140017"/>
                <a:gd name="connsiteX10" fmla="*/ 128588 w 128587"/>
                <a:gd name="connsiteY10" fmla="*/ 140018 h 140017"/>
                <a:gd name="connsiteX11" fmla="*/ 128588 w 128587"/>
                <a:gd name="connsiteY11" fmla="*/ 0 h 140017"/>
                <a:gd name="connsiteX12" fmla="*/ 97155 w 128587"/>
                <a:gd name="connsiteY12" fmla="*/ 0 h 140017"/>
                <a:gd name="connsiteX13" fmla="*/ 97155 w 128587"/>
                <a:gd name="connsiteY13" fmla="*/ 84773 h 140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587" h="140017">
                  <a:moveTo>
                    <a:pt x="97155" y="84773"/>
                  </a:moveTo>
                  <a:lnTo>
                    <a:pt x="97155" y="84773"/>
                  </a:lnTo>
                  <a:lnTo>
                    <a:pt x="97155" y="84773"/>
                  </a:lnTo>
                  <a:lnTo>
                    <a:pt x="27623" y="0"/>
                  </a:lnTo>
                  <a:lnTo>
                    <a:pt x="0" y="0"/>
                  </a:lnTo>
                  <a:lnTo>
                    <a:pt x="0" y="140018"/>
                  </a:lnTo>
                  <a:lnTo>
                    <a:pt x="31433" y="140018"/>
                  </a:lnTo>
                  <a:lnTo>
                    <a:pt x="31433" y="55245"/>
                  </a:lnTo>
                  <a:lnTo>
                    <a:pt x="100965" y="140018"/>
                  </a:lnTo>
                  <a:lnTo>
                    <a:pt x="100965" y="140018"/>
                  </a:lnTo>
                  <a:lnTo>
                    <a:pt x="128588" y="140018"/>
                  </a:lnTo>
                  <a:lnTo>
                    <a:pt x="128588" y="0"/>
                  </a:lnTo>
                  <a:lnTo>
                    <a:pt x="97155" y="0"/>
                  </a:lnTo>
                  <a:lnTo>
                    <a:pt x="97155" y="84773"/>
                  </a:lnTo>
                  <a:close/>
                </a:path>
              </a:pathLst>
            </a:custGeom>
            <a:solidFill>
              <a:srgbClr val="E520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563147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844550" y="1465263"/>
            <a:ext cx="5180737" cy="44964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sz="1200" b="0" i="0">
                <a:latin typeface="+mn-lt"/>
              </a:defRPr>
            </a:lvl3pPr>
            <a:lvl4pPr>
              <a:defRPr sz="1200" b="0" i="0">
                <a:latin typeface="+mn-lt"/>
              </a:defRPr>
            </a:lvl4pPr>
            <a:lvl5pPr>
              <a:defRPr sz="1200" b="0" i="0">
                <a:latin typeface="+mn-lt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172200" y="1465263"/>
            <a:ext cx="5181600" cy="44964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sz="1200" b="0" i="0">
                <a:latin typeface="+mn-lt"/>
              </a:defRPr>
            </a:lvl3pPr>
            <a:lvl4pPr>
              <a:defRPr sz="1200" b="0" i="0">
                <a:latin typeface="+mn-lt"/>
              </a:defRPr>
            </a:lvl4pPr>
            <a:lvl5pPr>
              <a:defRPr sz="1200" b="0" i="0">
                <a:latin typeface="+mn-lt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DC14428-AFF3-4B32-B0D9-B1518C3C1A6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5E6334F-6F95-4CDB-90EF-4DC64ED0BD11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7C3865E-EE78-496C-A2A1-3695A99589D5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5911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sv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50.xml"/><Relationship Id="rId34" Type="http://schemas.openxmlformats.org/officeDocument/2006/relationships/tags" Target="../tags/tag249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tags" Target="../tags/tag248.xml"/><Relationship Id="rId38" Type="http://schemas.openxmlformats.org/officeDocument/2006/relationships/tags" Target="../tags/tag25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heme" Target="../theme/theme2.xml"/><Relationship Id="rId37" Type="http://schemas.openxmlformats.org/officeDocument/2006/relationships/tags" Target="../tags/tag25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tags" Target="../tags/tag251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tags" Target="../tags/tag250.xml"/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3E1132CC-C65F-464E-9F2E-A8809AA3D55A}"/>
              </a:ext>
            </a:extLst>
          </p:cNvPr>
          <p:cNvPicPr>
            <a:picLocks noChangeAspect="1"/>
          </p:cNvPicPr>
          <p:nvPr userDrawn="1">
            <p:custDataLst>
              <p:tags r:id="rId31"/>
            </p:custDataLst>
          </p:nvPr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 bwMode="ltGray">
          <a:xfrm>
            <a:off x="4670357" y="-1"/>
            <a:ext cx="7521644" cy="6857188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9BE55F-CE4F-4849-A2AF-EBD27E2CA977}"/>
              </a:ext>
            </a:extLst>
          </p:cNvPr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843894" y="499621"/>
            <a:ext cx="9770687" cy="4490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defTabSz="685766"/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B4777B-5F06-4873-8E48-55AA10F2394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844549" y="6406095"/>
            <a:ext cx="6953251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AT" sz="600" b="0" i="0">
                <a:solidFill>
                  <a:schemeClr val="accent1"/>
                </a:solidFill>
                <a:latin typeface="+mn-lt"/>
              </a:defRPr>
            </a:lvl1pPr>
          </a:lstStyle>
          <a:p>
            <a:pPr defTabSz="171441"/>
            <a:r>
              <a:rPr lang="en-GB" dirty="0"/>
              <a:t>© Schrack Seconet AG 2022 – Master template EN – Instructions and samples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7BA42FD-255E-45A4-9080-ADE44A6804EA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4"/>
            </p:custDataLst>
          </p:nvPr>
        </p:nvSpPr>
        <p:spPr bwMode="gray">
          <a:xfrm>
            <a:off x="11340739" y="6406095"/>
            <a:ext cx="540035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AT" sz="1200" b="1" i="0" smtClean="0">
                <a:solidFill>
                  <a:srgbClr val="E52027"/>
                </a:solidFill>
                <a:latin typeface="+mn-lt"/>
              </a:defRPr>
            </a:lvl1pPr>
          </a:lstStyle>
          <a:p>
            <a:pPr algn="r" defTabSz="171441"/>
            <a:fld id="{CFF95F09-154E-4DA4-B343-81FEC9916E9C}" type="slidenum">
              <a:rPr lang="en-GB" smtClean="0"/>
              <a:pPr algn="r" defTabSz="171441"/>
              <a:t>‹#›</a:t>
            </a:fld>
            <a:endParaRPr lang="en-GB" dirty="0"/>
          </a:p>
        </p:txBody>
      </p:sp>
      <p:cxnSp>
        <p:nvCxnSpPr>
          <p:cNvPr id="11" name="Gerade Verbindung 36">
            <a:extLst>
              <a:ext uri="{FF2B5EF4-FFF2-40B4-BE49-F238E27FC236}">
                <a16:creationId xmlns:a16="http://schemas.microsoft.com/office/drawing/2014/main" id="{FDD939DC-CA3F-428D-AC3B-50E3F89EE971}"/>
              </a:ext>
            </a:extLst>
          </p:cNvPr>
          <p:cNvCxnSpPr/>
          <p:nvPr>
            <p:custDataLst>
              <p:tags r:id="rId35"/>
            </p:custDataLst>
          </p:nvPr>
        </p:nvCxnSpPr>
        <p:spPr bwMode="ltGray">
          <a:xfrm>
            <a:off x="838855" y="295315"/>
            <a:ext cx="1552601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47622AC7-A900-41C8-B930-2970068531D5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6"/>
            </p:custDataLst>
          </p:nvPr>
        </p:nvSpPr>
        <p:spPr>
          <a:xfrm>
            <a:off x="9991899" y="6406096"/>
            <a:ext cx="1244065" cy="2656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en-GB" sz="600" b="0" i="0" dirty="0">
                <a:solidFill>
                  <a:schemeClr val="accent1"/>
                </a:solidFill>
              </a:defRPr>
            </a:lvl1pPr>
          </a:lstStyle>
          <a:p>
            <a:pPr defTabSz="171441"/>
            <a:endParaRPr lang="de-AT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69411D9-B62E-43B3-9A87-FC0A1BBADA71}"/>
              </a:ext>
            </a:extLst>
          </p:cNvPr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>
          <a:xfrm>
            <a:off x="844550" y="1465263"/>
            <a:ext cx="10496550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6347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858" r:id="rId5"/>
    <p:sldLayoutId id="2147483791" r:id="rId6"/>
    <p:sldLayoutId id="2147483792" r:id="rId7"/>
    <p:sldLayoutId id="2147483861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6" r:id="rId15"/>
    <p:sldLayoutId id="2147483807" r:id="rId16"/>
    <p:sldLayoutId id="2147483865" r:id="rId17"/>
    <p:sldLayoutId id="2147483866" r:id="rId18"/>
    <p:sldLayoutId id="2147483867" r:id="rId19"/>
    <p:sldLayoutId id="2147483809" r:id="rId20"/>
    <p:sldLayoutId id="2147483810" r:id="rId21"/>
    <p:sldLayoutId id="2147483812" r:id="rId22"/>
    <p:sldLayoutId id="2147483813" r:id="rId23"/>
    <p:sldLayoutId id="2147483815" r:id="rId24"/>
    <p:sldLayoutId id="2147483872" r:id="rId25"/>
    <p:sldLayoutId id="2147483873" r:id="rId26"/>
    <p:sldLayoutId id="2147483874" r:id="rId27"/>
    <p:sldLayoutId id="2147483877" r:id="rId28"/>
    <p:sldLayoutId id="2147483878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AT" sz="2400" b="1" i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lang="de-DE" sz="16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DE" sz="1400" b="0" i="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DE" sz="1200" b="0" i="0" kern="1200">
          <a:solidFill>
            <a:schemeClr val="tx2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DE" sz="1200" b="0" i="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AT"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3" pos="532" userDrawn="1">
          <p15:clr>
            <a:srgbClr val="F26B43"/>
          </p15:clr>
        </p15:guide>
        <p15:guide id="24" pos="1559" userDrawn="1">
          <p15:clr>
            <a:srgbClr val="F26B43"/>
          </p15:clr>
        </p15:guide>
        <p15:guide id="25" pos="1650" userDrawn="1">
          <p15:clr>
            <a:srgbClr val="F26B43"/>
          </p15:clr>
        </p15:guide>
        <p15:guide id="26" pos="2677" userDrawn="1">
          <p15:clr>
            <a:srgbClr val="F26B43"/>
          </p15:clr>
        </p15:guide>
        <p15:guide id="27" pos="2767" userDrawn="1">
          <p15:clr>
            <a:srgbClr val="F26B43"/>
          </p15:clr>
        </p15:guide>
        <p15:guide id="28" pos="3794" userDrawn="1">
          <p15:clr>
            <a:srgbClr val="F26B43"/>
          </p15:clr>
        </p15:guide>
        <p15:guide id="29" pos="3885" userDrawn="1">
          <p15:clr>
            <a:srgbClr val="F26B43"/>
          </p15:clr>
        </p15:guide>
        <p15:guide id="30" pos="4912" userDrawn="1">
          <p15:clr>
            <a:srgbClr val="F26B43"/>
          </p15:clr>
        </p15:guide>
        <p15:guide id="31" pos="5002" userDrawn="1">
          <p15:clr>
            <a:srgbClr val="F26B43"/>
          </p15:clr>
        </p15:guide>
        <p15:guide id="32" pos="6029" userDrawn="1">
          <p15:clr>
            <a:srgbClr val="F26B43"/>
          </p15:clr>
        </p15:guide>
        <p15:guide id="33" pos="6120" userDrawn="1">
          <p15:clr>
            <a:srgbClr val="F26B43"/>
          </p15:clr>
        </p15:guide>
        <p15:guide id="34" pos="7147" userDrawn="1">
          <p15:clr>
            <a:srgbClr val="F26B43"/>
          </p15:clr>
        </p15:guide>
        <p15:guide id="35" orient="horz" pos="315" userDrawn="1">
          <p15:clr>
            <a:srgbClr val="F26B43"/>
          </p15:clr>
        </p15:guide>
        <p15:guide id="36" orient="horz" pos="3758" userDrawn="1">
          <p15:clr>
            <a:srgbClr val="F26B43"/>
          </p15:clr>
        </p15:guide>
        <p15:guide id="37" orient="horz" pos="2160" userDrawn="1">
          <p15:clr>
            <a:srgbClr val="F26B43"/>
          </p15:clr>
        </p15:guide>
        <p15:guide id="38" orient="horz" pos="923" userDrawn="1">
          <p15:clr>
            <a:srgbClr val="F26B43"/>
          </p15:clr>
        </p15:guide>
        <p15:guide id="39" orient="horz" pos="4035" userDrawn="1">
          <p15:clr>
            <a:srgbClr val="F26B43"/>
          </p15:clr>
        </p15:guide>
        <p15:guide id="40" orient="horz" pos="594" userDrawn="1">
          <p15:clr>
            <a:srgbClr val="F26B43"/>
          </p15:clr>
        </p15:guide>
        <p15:guide id="41" orient="horz" pos="1457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9BE55F-CE4F-4849-A2AF-EBD27E2CA977}"/>
              </a:ext>
            </a:extLst>
          </p:cNvPr>
          <p:cNvSpPr>
            <a:spLocks noGrp="1"/>
          </p:cNvSpPr>
          <p:nvPr>
            <p:ph type="title"/>
            <p:custDataLst>
              <p:tags r:id="rId33"/>
            </p:custDataLst>
          </p:nvPr>
        </p:nvSpPr>
        <p:spPr>
          <a:xfrm>
            <a:off x="843894" y="499621"/>
            <a:ext cx="9770688" cy="4490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defTabSz="685766"/>
            <a:r>
              <a:rPr lang="en-GB"/>
              <a:t>Mastertitelformat bearbeiten</a:t>
            </a:r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DB4777B-5F06-4873-8E48-55AA10F2394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844549" y="6406095"/>
            <a:ext cx="6953251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AT" sz="600" b="0" i="0">
                <a:solidFill>
                  <a:schemeClr val="accent1"/>
                </a:solidFill>
                <a:latin typeface="+mn-lt"/>
              </a:defRPr>
            </a:lvl1pPr>
          </a:lstStyle>
          <a:p>
            <a:pPr defTabSz="171441"/>
            <a:r>
              <a:rPr lang="en-GB"/>
              <a:t>© Schrack Seconet AG 2022 – Master template EN – Instructions and samples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7BA42FD-255E-45A4-9080-ADE44A6804EA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5"/>
            </p:custDataLst>
          </p:nvPr>
        </p:nvSpPr>
        <p:spPr bwMode="gray">
          <a:xfrm>
            <a:off x="11340739" y="6406095"/>
            <a:ext cx="540035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AT" sz="1200" b="1" i="0" smtClean="0">
                <a:solidFill>
                  <a:srgbClr val="E52027"/>
                </a:solidFill>
                <a:latin typeface="+mn-lt"/>
              </a:defRPr>
            </a:lvl1pPr>
          </a:lstStyle>
          <a:p>
            <a:pPr algn="r" defTabSz="171441"/>
            <a:fld id="{CFF95F09-154E-4DA4-B343-81FEC9916E9C}" type="slidenum">
              <a:rPr lang="en-GB" smtClean="0"/>
              <a:pPr algn="r" defTabSz="171441"/>
              <a:t>‹#›</a:t>
            </a:fld>
            <a:endParaRPr lang="en-GB" dirty="0"/>
          </a:p>
        </p:txBody>
      </p:sp>
      <p:cxnSp>
        <p:nvCxnSpPr>
          <p:cNvPr id="11" name="Gerade Verbindung 36">
            <a:extLst>
              <a:ext uri="{FF2B5EF4-FFF2-40B4-BE49-F238E27FC236}">
                <a16:creationId xmlns:a16="http://schemas.microsoft.com/office/drawing/2014/main" id="{FDD939DC-CA3F-428D-AC3B-50E3F89EE971}"/>
              </a:ext>
            </a:extLst>
          </p:cNvPr>
          <p:cNvCxnSpPr/>
          <p:nvPr>
            <p:custDataLst>
              <p:tags r:id="rId36"/>
            </p:custDataLst>
          </p:nvPr>
        </p:nvCxnSpPr>
        <p:spPr bwMode="ltGray">
          <a:xfrm>
            <a:off x="838855" y="295315"/>
            <a:ext cx="1552601" cy="0"/>
          </a:xfrm>
          <a:prstGeom prst="line">
            <a:avLst/>
          </a:prstGeom>
          <a:ln w="38100">
            <a:solidFill>
              <a:srgbClr val="E520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47622AC7-A900-41C8-B930-2970068531D5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7"/>
            </p:custDataLst>
          </p:nvPr>
        </p:nvSpPr>
        <p:spPr>
          <a:xfrm>
            <a:off x="9991899" y="6406096"/>
            <a:ext cx="1244065" cy="2656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600" b="0" i="0" dirty="0">
                <a:solidFill>
                  <a:schemeClr val="accent1"/>
                </a:solidFill>
              </a:defRPr>
            </a:lvl1pPr>
          </a:lstStyle>
          <a:p>
            <a:pPr algn="r" defTabSz="171441"/>
            <a:endParaRPr lang="de-AT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69411D9-B62E-43B3-9A87-FC0A1BBADA71}"/>
              </a:ext>
            </a:extLst>
          </p:cNvPr>
          <p:cNvSpPr>
            <a:spLocks noGrp="1"/>
          </p:cNvSpPr>
          <p:nvPr>
            <p:ph type="body" idx="1"/>
            <p:custDataLst>
              <p:tags r:id="rId38"/>
            </p:custDataLst>
          </p:nvPr>
        </p:nvSpPr>
        <p:spPr>
          <a:xfrm>
            <a:off x="844550" y="1465263"/>
            <a:ext cx="10496550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4766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57" r:id="rId4"/>
    <p:sldLayoutId id="2147483820" r:id="rId5"/>
    <p:sldLayoutId id="2147483821" r:id="rId6"/>
    <p:sldLayoutId id="2147483822" r:id="rId7"/>
    <p:sldLayoutId id="2147483823" r:id="rId8"/>
    <p:sldLayoutId id="2147483842" r:id="rId9"/>
    <p:sldLayoutId id="2147483843" r:id="rId10"/>
    <p:sldLayoutId id="2147483826" r:id="rId11"/>
    <p:sldLayoutId id="2147483827" r:id="rId12"/>
    <p:sldLayoutId id="2147483853" r:id="rId13"/>
    <p:sldLayoutId id="2147483854" r:id="rId14"/>
    <p:sldLayoutId id="2147483828" r:id="rId15"/>
    <p:sldLayoutId id="2147483829" r:id="rId16"/>
    <p:sldLayoutId id="2147483831" r:id="rId17"/>
    <p:sldLayoutId id="2147483833" r:id="rId18"/>
    <p:sldLayoutId id="2147483834" r:id="rId19"/>
    <p:sldLayoutId id="2147483868" r:id="rId20"/>
    <p:sldLayoutId id="2147483869" r:id="rId21"/>
    <p:sldLayoutId id="2147483870" r:id="rId22"/>
    <p:sldLayoutId id="2147483836" r:id="rId23"/>
    <p:sldLayoutId id="2147483837" r:id="rId24"/>
    <p:sldLayoutId id="2147483839" r:id="rId25"/>
    <p:sldLayoutId id="2147483840" r:id="rId26"/>
    <p:sldLayoutId id="2147483841" r:id="rId27"/>
    <p:sldLayoutId id="2147483879" r:id="rId28"/>
    <p:sldLayoutId id="2147483880" r:id="rId29"/>
    <p:sldLayoutId id="2147483881" r:id="rId30"/>
    <p:sldLayoutId id="2147483882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AT" sz="2400" b="1" i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lang="de-DE" sz="16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DE"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DE" sz="11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DE" sz="11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lang="de-AT" sz="11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Univers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32">
          <p15:clr>
            <a:srgbClr val="F26B43"/>
          </p15:clr>
        </p15:guide>
        <p15:guide id="4" pos="1559">
          <p15:clr>
            <a:srgbClr val="F26B43"/>
          </p15:clr>
        </p15:guide>
        <p15:guide id="5" pos="1650">
          <p15:clr>
            <a:srgbClr val="F26B43"/>
          </p15:clr>
        </p15:guide>
        <p15:guide id="6" pos="2677">
          <p15:clr>
            <a:srgbClr val="F26B43"/>
          </p15:clr>
        </p15:guide>
        <p15:guide id="7" pos="2767">
          <p15:clr>
            <a:srgbClr val="F26B43"/>
          </p15:clr>
        </p15:guide>
        <p15:guide id="8" pos="3794">
          <p15:clr>
            <a:srgbClr val="F26B43"/>
          </p15:clr>
        </p15:guide>
        <p15:guide id="9" pos="3885">
          <p15:clr>
            <a:srgbClr val="F26B43"/>
          </p15:clr>
        </p15:guide>
        <p15:guide id="10" pos="4912">
          <p15:clr>
            <a:srgbClr val="F26B43"/>
          </p15:clr>
        </p15:guide>
        <p15:guide id="11" pos="5002">
          <p15:clr>
            <a:srgbClr val="F26B43"/>
          </p15:clr>
        </p15:guide>
        <p15:guide id="12" pos="6029">
          <p15:clr>
            <a:srgbClr val="F26B43"/>
          </p15:clr>
        </p15:guide>
        <p15:guide id="13" pos="6120">
          <p15:clr>
            <a:srgbClr val="F26B43"/>
          </p15:clr>
        </p15:guide>
        <p15:guide id="14" pos="7147">
          <p15:clr>
            <a:srgbClr val="F26B43"/>
          </p15:clr>
        </p15:guide>
        <p15:guide id="17" orient="horz" pos="315" userDrawn="1">
          <p15:clr>
            <a:srgbClr val="F26B43"/>
          </p15:clr>
        </p15:guide>
        <p15:guide id="18" orient="horz" pos="3758">
          <p15:clr>
            <a:srgbClr val="F26B43"/>
          </p15:clr>
        </p15:guide>
        <p15:guide id="19" orient="horz" pos="2160">
          <p15:clr>
            <a:srgbClr val="F26B43"/>
          </p15:clr>
        </p15:guide>
        <p15:guide id="20" orient="horz" pos="923">
          <p15:clr>
            <a:srgbClr val="F26B43"/>
          </p15:clr>
        </p15:guide>
        <p15:guide id="21" orient="horz" pos="4035">
          <p15:clr>
            <a:srgbClr val="F26B43"/>
          </p15:clr>
        </p15:guide>
        <p15:guide id="22" orient="horz" pos="588" userDrawn="1">
          <p15:clr>
            <a:srgbClr val="F26B43"/>
          </p15:clr>
        </p15:guide>
        <p15:guide id="23" orient="horz" pos="1457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47.xml"/><Relationship Id="rId1" Type="http://schemas.openxmlformats.org/officeDocument/2006/relationships/tags" Target="../tags/tag546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31.png"/><Relationship Id="rId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7" Type="http://schemas.openxmlformats.org/officeDocument/2006/relationships/image" Target="../media/image42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1.png"/><Relationship Id="rId5" Type="http://schemas.openxmlformats.org/officeDocument/2006/relationships/image" Target="../media/image38.png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4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4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21.png"/><Relationship Id="rId5" Type="http://schemas.microsoft.com/office/2007/relationships/hdphoto" Target="../media/hdphoto1.wdp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24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pPr>
              <a:buClr>
                <a:srgbClr val="14285C"/>
              </a:buClr>
            </a:pPr>
            <a:r>
              <a:rPr lang="cs-CZ" altLang="de-DE" sz="4000" dirty="0"/>
              <a:t>Elektrická požární signalizace</a:t>
            </a:r>
            <a:endParaRPr lang="en-GB" altLang="de-DE" sz="4000" dirty="0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/>
        <p:txBody>
          <a:bodyPr/>
          <a:lstStyle/>
          <a:p>
            <a:pPr>
              <a:buClr>
                <a:srgbClr val="14285C"/>
              </a:buClr>
            </a:pPr>
            <a:r>
              <a:rPr lang="cs-CZ" altLang="de-DE" dirty="0"/>
              <a:t>Konference Červený kohout 2024</a:t>
            </a:r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3771572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4600C0E-9090-B416-B1A5-4DCBDECAD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žární ochrana fotovoltaických systémů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27799CDB-6B1E-CC68-7AC0-F8A26A129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95F09-154E-4DA4-B343-81FEC9916E9C}" type="slidenum">
              <a:rPr lang="en-US" smtClean="0"/>
              <a:t>10</a:t>
            </a:fld>
            <a:endParaRPr lang="en-US" dirty="0"/>
          </a:p>
        </p:txBody>
      </p:sp>
      <p:pic>
        <p:nvPicPr>
          <p:cNvPr id="7" name="Grafik 5">
            <a:extLst>
              <a:ext uri="{FF2B5EF4-FFF2-40B4-BE49-F238E27FC236}">
                <a16:creationId xmlns:a16="http://schemas.microsoft.com/office/drawing/2014/main" id="{E3F23354-3C98-9580-840A-DD44A75A69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6879" r="356" b="32565"/>
          <a:stretch/>
        </p:blipFill>
        <p:spPr>
          <a:xfrm>
            <a:off x="-3176" y="3079440"/>
            <a:ext cx="12192001" cy="3489649"/>
          </a:xfrm>
          <a:prstGeom prst="rect">
            <a:avLst/>
          </a:prstGeom>
        </p:spPr>
      </p:pic>
      <p:sp>
        <p:nvSpPr>
          <p:cNvPr id="12" name="Zástupný obsah 4">
            <a:extLst>
              <a:ext uri="{FF2B5EF4-FFF2-40B4-BE49-F238E27FC236}">
                <a16:creationId xmlns:a16="http://schemas.microsoft.com/office/drawing/2014/main" id="{B871155D-3B1C-BF61-E478-B5D6ABA3612E}"/>
              </a:ext>
            </a:extLst>
          </p:cNvPr>
          <p:cNvSpPr txBox="1">
            <a:spLocks/>
          </p:cNvSpPr>
          <p:nvPr/>
        </p:nvSpPr>
        <p:spPr>
          <a:xfrm>
            <a:off x="843894" y="1230818"/>
            <a:ext cx="897296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AT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000" dirty="0">
                <a:latin typeface="Univers Next W1G" panose="020B0503030202020203" pitchFamily="34" charset="0"/>
              </a:rPr>
              <a:t>efektivní teplotní detekce FVE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detekce nejen FV panelů, ale i všech kabelových propojení díky odbočkám</a:t>
            </a:r>
          </a:p>
        </p:txBody>
      </p:sp>
    </p:spTree>
    <p:extLst>
      <p:ext uri="{BB962C8B-B14F-4D97-AF65-F5344CB8AC3E}">
        <p14:creationId xmlns:p14="http://schemas.microsoft.com/office/powerpoint/2010/main" val="27771782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88175EC-80FB-831C-EBB4-A0599D75C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mbinace požární ochrany a efektivity fotovoltaiky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14BAC95-95C7-5B6B-E2D6-6FD0E47D2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F95F09-154E-4DA4-B343-81FEC9916E9C}" type="slidenum">
              <a:rPr lang="en-US" smtClean="0"/>
              <a:t>11</a:t>
            </a:fld>
            <a:endParaRPr lang="en-US" dirty="0"/>
          </a:p>
        </p:txBody>
      </p:sp>
      <p:pic>
        <p:nvPicPr>
          <p:cNvPr id="7" name="Grafik 11">
            <a:extLst>
              <a:ext uri="{FF2B5EF4-FFF2-40B4-BE49-F238E27FC236}">
                <a16:creationId xmlns:a16="http://schemas.microsoft.com/office/drawing/2014/main" id="{DC46CAC2-C427-33B4-BF2E-F1311C25C023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l="595" t="15669" r="680" b="1498"/>
          <a:stretch/>
        </p:blipFill>
        <p:spPr>
          <a:xfrm>
            <a:off x="2022029" y="2190645"/>
            <a:ext cx="8219552" cy="3727939"/>
          </a:xfrm>
          <a:prstGeom prst="rect">
            <a:avLst/>
          </a:prstGeom>
        </p:spPr>
      </p:pic>
      <p:sp>
        <p:nvSpPr>
          <p:cNvPr id="9" name="Zástupný obsah 4">
            <a:extLst>
              <a:ext uri="{FF2B5EF4-FFF2-40B4-BE49-F238E27FC236}">
                <a16:creationId xmlns:a16="http://schemas.microsoft.com/office/drawing/2014/main" id="{B87F24C6-36A0-79FF-1486-79BE852E4EF4}"/>
              </a:ext>
            </a:extLst>
          </p:cNvPr>
          <p:cNvSpPr txBox="1">
            <a:spLocks/>
          </p:cNvSpPr>
          <p:nvPr/>
        </p:nvSpPr>
        <p:spPr>
          <a:xfrm>
            <a:off x="843894" y="1230818"/>
            <a:ext cx="897296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AT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000" dirty="0">
                <a:latin typeface="Univers Next W1G" panose="020B0503030202020203" pitchFamily="34" charset="0"/>
              </a:rPr>
              <a:t>individuální měření teploty provozních podmínek jednotlivých FV panelů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vizuální zobrazení externích vlivů pro FVE</a:t>
            </a: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214143F1-B6FE-9017-284A-ECC597F707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4" t="15894" r="919" b="1486"/>
          <a:stretch/>
        </p:blipFill>
        <p:spPr>
          <a:xfrm>
            <a:off x="2022029" y="2156925"/>
            <a:ext cx="8219552" cy="3722061"/>
          </a:xfrm>
          <a:prstGeom prst="rect">
            <a:avLst/>
          </a:prstGeom>
        </p:spPr>
      </p:pic>
      <p:sp>
        <p:nvSpPr>
          <p:cNvPr id="11" name="Řečová bublina: obdélníkový bublinový popisek se zakulacenými rohy 10">
            <a:extLst>
              <a:ext uri="{FF2B5EF4-FFF2-40B4-BE49-F238E27FC236}">
                <a16:creationId xmlns:a16="http://schemas.microsoft.com/office/drawing/2014/main" id="{005E7096-6B76-4952-7F84-59E17A11C7E6}"/>
              </a:ext>
            </a:extLst>
          </p:cNvPr>
          <p:cNvSpPr/>
          <p:nvPr/>
        </p:nvSpPr>
        <p:spPr>
          <a:xfrm>
            <a:off x="7278465" y="1739292"/>
            <a:ext cx="3268549" cy="565238"/>
          </a:xfrm>
          <a:prstGeom prst="wedgeRoundRectCallout">
            <a:avLst>
              <a:gd name="adj1" fmla="val -32201"/>
              <a:gd name="adj2" fmla="val 139062"/>
              <a:gd name="adj3" fmla="val 1666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Ochlazování panelů větrem</a:t>
            </a:r>
          </a:p>
        </p:txBody>
      </p:sp>
      <p:sp>
        <p:nvSpPr>
          <p:cNvPr id="12" name="Řečová bublina: obdélníkový bublinový popisek se zakulacenými rohy 11">
            <a:extLst>
              <a:ext uri="{FF2B5EF4-FFF2-40B4-BE49-F238E27FC236}">
                <a16:creationId xmlns:a16="http://schemas.microsoft.com/office/drawing/2014/main" id="{F29A03C9-988D-9F3C-C969-2B8654D3E4DC}"/>
              </a:ext>
            </a:extLst>
          </p:cNvPr>
          <p:cNvSpPr/>
          <p:nvPr/>
        </p:nvSpPr>
        <p:spPr>
          <a:xfrm flipH="1">
            <a:off x="1162224" y="4054614"/>
            <a:ext cx="2531706" cy="490712"/>
          </a:xfrm>
          <a:prstGeom prst="wedgeRoundRectCallout">
            <a:avLst>
              <a:gd name="adj1" fmla="val 8537"/>
              <a:gd name="adj2" fmla="val -187467"/>
              <a:gd name="adj3" fmla="val 16667"/>
            </a:avLst>
          </a:prstGeom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/>
              <a:t>Zastínění</a:t>
            </a:r>
          </a:p>
        </p:txBody>
      </p:sp>
    </p:spTree>
    <p:extLst>
      <p:ext uri="{BB962C8B-B14F-4D97-AF65-F5344CB8AC3E}">
        <p14:creationId xmlns:p14="http://schemas.microsoft.com/office/powerpoint/2010/main" val="379655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Zástupný symbol obrázku 39">
            <a:extLst>
              <a:ext uri="{FF2B5EF4-FFF2-40B4-BE49-F238E27FC236}">
                <a16:creationId xmlns:a16="http://schemas.microsoft.com/office/drawing/2014/main" id="{3A470E9D-889D-4887-A7A1-ED8FFEB0663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190" r="190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9" name="Zástupný text 38">
            <a:extLst>
              <a:ext uri="{FF2B5EF4-FFF2-40B4-BE49-F238E27FC236}">
                <a16:creationId xmlns:a16="http://schemas.microsoft.com/office/drawing/2014/main" id="{7E4EE57C-D7A8-9472-A1BD-43D7EC47B5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262130"/>
            <a:ext cx="5079566" cy="4617971"/>
          </a:xfrm>
        </p:spPr>
        <p:txBody>
          <a:bodyPr/>
          <a:lstStyle/>
          <a:p>
            <a:r>
              <a:rPr lang="cs-CZ" sz="2400" dirty="0"/>
              <a:t>silniční a železniční tunely</a:t>
            </a:r>
          </a:p>
          <a:p>
            <a:r>
              <a:rPr lang="cs-CZ" sz="2400" dirty="0"/>
              <a:t>chemický průmysl</a:t>
            </a:r>
          </a:p>
          <a:p>
            <a:r>
              <a:rPr lang="cs-CZ" sz="2400" dirty="0"/>
              <a:t>kabelové šachty a vedení</a:t>
            </a:r>
          </a:p>
          <a:p>
            <a:r>
              <a:rPr lang="cs-CZ" sz="2400" dirty="0"/>
              <a:t>prašná a náročná prostředí</a:t>
            </a:r>
          </a:p>
          <a:p>
            <a:r>
              <a:rPr lang="cs-CZ" sz="2400" dirty="0"/>
              <a:t>monitoring FVE</a:t>
            </a:r>
          </a:p>
          <a:p>
            <a:r>
              <a:rPr lang="cs-CZ" sz="2400" dirty="0"/>
              <a:t>garáže vozidel MHD</a:t>
            </a:r>
          </a:p>
          <a:p>
            <a:r>
              <a:rPr lang="cs-CZ" sz="2400" dirty="0"/>
              <a:t>zdvojené podlahy a stropy bez přístupu (banky)</a:t>
            </a:r>
          </a:p>
          <a:p>
            <a:r>
              <a:rPr lang="cs-CZ" sz="2400" dirty="0"/>
              <a:t>pěstírny zdravotnického konopí (hlídání teploty)</a:t>
            </a:r>
          </a:p>
          <a:p>
            <a:r>
              <a:rPr lang="cs-CZ" sz="2400" dirty="0"/>
              <a:t>datová centra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6E1CC0E-9317-417D-2F0E-8851367123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89E0D2-C837-8B4F-86AA-2C445A0692A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63E23003-77C4-F439-291A-92A6F9D5A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blasti využití kabelu LISTEC</a:t>
            </a:r>
          </a:p>
        </p:txBody>
      </p:sp>
    </p:spTree>
    <p:extLst>
      <p:ext uri="{BB962C8B-B14F-4D97-AF65-F5344CB8AC3E}">
        <p14:creationId xmlns:p14="http://schemas.microsoft.com/office/powerpoint/2010/main" val="1439520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19371876-DDCA-DBE9-79FE-72D8D38D858E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23" r="22023"/>
          <a:stretch/>
        </p:blipFill>
        <p:spPr>
          <a:xfrm>
            <a:off x="7225117" y="11"/>
            <a:ext cx="5345889" cy="6857998"/>
          </a:xfrm>
          <a:prstGeom prst="parallelogram">
            <a:avLst/>
          </a:prstGeom>
        </p:spPr>
      </p:pic>
      <p:sp>
        <p:nvSpPr>
          <p:cNvPr id="28" name="Obdélník 27">
            <a:extLst>
              <a:ext uri="{FF2B5EF4-FFF2-40B4-BE49-F238E27FC236}">
                <a16:creationId xmlns:a16="http://schemas.microsoft.com/office/drawing/2014/main" id="{AF69AD6E-B82A-AEB7-FFDB-E29642F21B2A}"/>
              </a:ext>
            </a:extLst>
          </p:cNvPr>
          <p:cNvSpPr/>
          <p:nvPr/>
        </p:nvSpPr>
        <p:spPr>
          <a:xfrm>
            <a:off x="3771791" y="195320"/>
            <a:ext cx="3293108" cy="9854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0" name="Obrázek 19" descr="Obsah obrázku infrastruktura, silnice, beton, tunel&#10;&#10;Popis byl vytvořen automaticky">
            <a:extLst>
              <a:ext uri="{FF2B5EF4-FFF2-40B4-BE49-F238E27FC236}">
                <a16:creationId xmlns:a16="http://schemas.microsoft.com/office/drawing/2014/main" id="{30799A50-B01A-4177-B7D1-A22DA415F39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022" b="6022"/>
          <a:stretch/>
        </p:blipFill>
        <p:spPr>
          <a:xfrm>
            <a:off x="2783878" y="13"/>
            <a:ext cx="5345889" cy="6857998"/>
          </a:xfrm>
          <a:prstGeom prst="parallelogram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E93FD83F-BC39-C865-9212-DBC7DC6A5388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23" t="6299" r="22023" b="-6299"/>
          <a:stretch/>
        </p:blipFill>
        <p:spPr>
          <a:xfrm>
            <a:off x="7225117" y="9"/>
            <a:ext cx="5345889" cy="6857998"/>
          </a:xfrm>
          <a:prstGeom prst="parallelogram">
            <a:avLst/>
          </a:prstGeom>
        </p:spPr>
      </p:pic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15F976B2-34AF-6BE0-4778-9A85BAD99AF9}"/>
              </a:ext>
            </a:extLst>
          </p:cNvPr>
          <p:cNvSpPr txBox="1">
            <a:spLocks/>
          </p:cNvSpPr>
          <p:nvPr/>
        </p:nvSpPr>
        <p:spPr bwMode="ltGray">
          <a:xfrm>
            <a:off x="2920615" y="5020584"/>
            <a:ext cx="3833058" cy="1121434"/>
          </a:xfrm>
          <a:custGeom>
            <a:avLst/>
            <a:gdLst>
              <a:gd name="connsiteX0" fmla="*/ 0 w 3106178"/>
              <a:gd name="connsiteY0" fmla="*/ 0 h 1121434"/>
              <a:gd name="connsiteX1" fmla="*/ 3106178 w 3106178"/>
              <a:gd name="connsiteY1" fmla="*/ 0 h 1121434"/>
              <a:gd name="connsiteX2" fmla="*/ 3106178 w 3106178"/>
              <a:gd name="connsiteY2" fmla="*/ 1121434 h 1121434"/>
              <a:gd name="connsiteX3" fmla="*/ 0 w 3106178"/>
              <a:gd name="connsiteY3" fmla="*/ 1121434 h 1121434"/>
              <a:gd name="connsiteX4" fmla="*/ 0 w 3106178"/>
              <a:gd name="connsiteY4" fmla="*/ 0 h 1121434"/>
              <a:gd name="connsiteX0" fmla="*/ 0 w 3106178"/>
              <a:gd name="connsiteY0" fmla="*/ 0 h 1121434"/>
              <a:gd name="connsiteX1" fmla="*/ 3106178 w 3106178"/>
              <a:gd name="connsiteY1" fmla="*/ 0 h 1121434"/>
              <a:gd name="connsiteX2" fmla="*/ 2884236 w 3106178"/>
              <a:gd name="connsiteY2" fmla="*/ 1112556 h 1121434"/>
              <a:gd name="connsiteX3" fmla="*/ 0 w 3106178"/>
              <a:gd name="connsiteY3" fmla="*/ 1121434 h 1121434"/>
              <a:gd name="connsiteX4" fmla="*/ 0 w 3106178"/>
              <a:gd name="connsiteY4" fmla="*/ 0 h 1121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178" h="1121434">
                <a:moveTo>
                  <a:pt x="0" y="0"/>
                </a:moveTo>
                <a:lnTo>
                  <a:pt x="3106178" y="0"/>
                </a:lnTo>
                <a:lnTo>
                  <a:pt x="2884236" y="1112556"/>
                </a:lnTo>
                <a:lnTo>
                  <a:pt x="0" y="11214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74902"/>
            </a:srgbClr>
          </a:solidFill>
          <a:ln>
            <a:noFill/>
          </a:ln>
        </p:spPr>
        <p:txBody>
          <a:bodyPr vert="horz" lIns="108000" tIns="144000" rIns="108000" bIns="144000" rtlCol="0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  <a:lvl2pPr marL="457166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AT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3200" i="0" kern="1200" dirty="0">
                <a:solidFill>
                  <a:srgbClr val="002060"/>
                </a:solidFill>
                <a:latin typeface="+mj-lt"/>
              </a:rPr>
              <a:t> </a:t>
            </a:r>
            <a:r>
              <a:rPr lang="cs-CZ" sz="3200" i="0" kern="1200" dirty="0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+mj-lt"/>
              </a:rPr>
              <a:t>Lineární teplotní kabel LISTEC</a:t>
            </a:r>
            <a:endParaRPr lang="de-DE" sz="1400" i="0" kern="1200" dirty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B4298F30-8CBD-174A-8965-A0D8F5190F2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14" r="18632"/>
          <a:stretch/>
        </p:blipFill>
        <p:spPr>
          <a:xfrm>
            <a:off x="7237053" y="2"/>
            <a:ext cx="5345889" cy="6857998"/>
          </a:xfrm>
          <a:prstGeom prst="parallelogram">
            <a:avLst/>
          </a:prstGeom>
        </p:spPr>
      </p:pic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775C803F-7A0E-D097-702F-800D062604E8}"/>
              </a:ext>
            </a:extLst>
          </p:cNvPr>
          <p:cNvSpPr txBox="1">
            <a:spLocks/>
          </p:cNvSpPr>
          <p:nvPr/>
        </p:nvSpPr>
        <p:spPr bwMode="ltGray">
          <a:xfrm>
            <a:off x="7361854" y="5020584"/>
            <a:ext cx="3994404" cy="1130311"/>
          </a:xfrm>
          <a:custGeom>
            <a:avLst/>
            <a:gdLst>
              <a:gd name="connsiteX0" fmla="*/ 0 w 3423724"/>
              <a:gd name="connsiteY0" fmla="*/ 0 h 1121434"/>
              <a:gd name="connsiteX1" fmla="*/ 3423724 w 3423724"/>
              <a:gd name="connsiteY1" fmla="*/ 0 h 1121434"/>
              <a:gd name="connsiteX2" fmla="*/ 3423724 w 3423724"/>
              <a:gd name="connsiteY2" fmla="*/ 1121434 h 1121434"/>
              <a:gd name="connsiteX3" fmla="*/ 0 w 3423724"/>
              <a:gd name="connsiteY3" fmla="*/ 1121434 h 1121434"/>
              <a:gd name="connsiteX4" fmla="*/ 0 w 3423724"/>
              <a:gd name="connsiteY4" fmla="*/ 0 h 1121434"/>
              <a:gd name="connsiteX0" fmla="*/ 207034 w 3630758"/>
              <a:gd name="connsiteY0" fmla="*/ 0 h 1121434"/>
              <a:gd name="connsiteX1" fmla="*/ 3630758 w 3630758"/>
              <a:gd name="connsiteY1" fmla="*/ 0 h 1121434"/>
              <a:gd name="connsiteX2" fmla="*/ 3630758 w 3630758"/>
              <a:gd name="connsiteY2" fmla="*/ 1121434 h 1121434"/>
              <a:gd name="connsiteX3" fmla="*/ 0 w 3630758"/>
              <a:gd name="connsiteY3" fmla="*/ 1121434 h 1121434"/>
              <a:gd name="connsiteX4" fmla="*/ 207034 w 3630758"/>
              <a:gd name="connsiteY4" fmla="*/ 0 h 1121434"/>
              <a:gd name="connsiteX0" fmla="*/ 207034 w 3630758"/>
              <a:gd name="connsiteY0" fmla="*/ 0 h 1130311"/>
              <a:gd name="connsiteX1" fmla="*/ 3630758 w 3630758"/>
              <a:gd name="connsiteY1" fmla="*/ 0 h 1130311"/>
              <a:gd name="connsiteX2" fmla="*/ 3391061 w 3630758"/>
              <a:gd name="connsiteY2" fmla="*/ 1130311 h 1130311"/>
              <a:gd name="connsiteX3" fmla="*/ 0 w 3630758"/>
              <a:gd name="connsiteY3" fmla="*/ 1121434 h 1130311"/>
              <a:gd name="connsiteX4" fmla="*/ 207034 w 3630758"/>
              <a:gd name="connsiteY4" fmla="*/ 0 h 1130311"/>
              <a:gd name="connsiteX0" fmla="*/ 215912 w 3639636"/>
              <a:gd name="connsiteY0" fmla="*/ 0 h 1130311"/>
              <a:gd name="connsiteX1" fmla="*/ 3639636 w 3639636"/>
              <a:gd name="connsiteY1" fmla="*/ 0 h 1130311"/>
              <a:gd name="connsiteX2" fmla="*/ 3399939 w 3639636"/>
              <a:gd name="connsiteY2" fmla="*/ 1130311 h 1130311"/>
              <a:gd name="connsiteX3" fmla="*/ 0 w 3639636"/>
              <a:gd name="connsiteY3" fmla="*/ 1121434 h 1130311"/>
              <a:gd name="connsiteX4" fmla="*/ 215912 w 3639636"/>
              <a:gd name="connsiteY4" fmla="*/ 0 h 1130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636" h="1130311">
                <a:moveTo>
                  <a:pt x="215912" y="0"/>
                </a:moveTo>
                <a:lnTo>
                  <a:pt x="3639636" y="0"/>
                </a:lnTo>
                <a:lnTo>
                  <a:pt x="3399939" y="1130311"/>
                </a:lnTo>
                <a:lnTo>
                  <a:pt x="0" y="1121434"/>
                </a:lnTo>
                <a:lnTo>
                  <a:pt x="215912" y="0"/>
                </a:lnTo>
                <a:close/>
              </a:path>
            </a:pathLst>
          </a:custGeom>
          <a:solidFill>
            <a:srgbClr val="FFFFFF">
              <a:alpha val="74902"/>
            </a:srgbClr>
          </a:solidFill>
          <a:ln>
            <a:noFill/>
          </a:ln>
        </p:spPr>
        <p:txBody>
          <a:bodyPr vert="horz" lIns="108000" tIns="144000" rIns="108000" bIns="144000" rtlCol="0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  <a:lvl2pPr marL="457166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AT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3200" b="0" i="0" kern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 </a:t>
            </a:r>
            <a:r>
              <a:rPr lang="cs-CZ" sz="3200" b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epl</a:t>
            </a:r>
            <a:r>
              <a:rPr lang="cs-CZ" sz="3200" b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 radiometrická detekce </a:t>
            </a:r>
            <a:r>
              <a:rPr lang="cs-CZ" sz="3200" b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botix</a:t>
            </a:r>
            <a:endParaRPr lang="de-DE" sz="1400" b="0" i="0" kern="1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404098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493A0647-19FB-27E6-8372-5E16FA5679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3893" y="1172427"/>
            <a:ext cx="5586403" cy="4083049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cs-CZ" sz="2400" dirty="0"/>
              <a:t>teplotní radiometrická detekce</a:t>
            </a:r>
          </a:p>
          <a:p>
            <a:pPr>
              <a:lnSpc>
                <a:spcPct val="150000"/>
              </a:lnSpc>
            </a:pPr>
            <a:r>
              <a:rPr lang="cs-CZ" sz="2400" dirty="0"/>
              <a:t>EN 54-10</a:t>
            </a:r>
          </a:p>
          <a:p>
            <a:pPr>
              <a:lnSpc>
                <a:spcPct val="150000"/>
              </a:lnSpc>
            </a:pPr>
            <a:r>
              <a:rPr lang="cs-CZ" sz="2400" dirty="0"/>
              <a:t>reálné měření teploty na úrovni pixelu</a:t>
            </a:r>
          </a:p>
          <a:p>
            <a:pPr>
              <a:lnSpc>
                <a:spcPct val="150000"/>
              </a:lnSpc>
            </a:pPr>
            <a:r>
              <a:rPr lang="cs-CZ" sz="2400" dirty="0" err="1"/>
              <a:t>VdS</a:t>
            </a:r>
            <a:r>
              <a:rPr lang="cs-CZ" sz="2400" dirty="0"/>
              <a:t> certifikace detekce do 65m s 20 sektory</a:t>
            </a:r>
          </a:p>
          <a:p>
            <a:pPr>
              <a:lnSpc>
                <a:spcPct val="150000"/>
              </a:lnSpc>
            </a:pPr>
            <a:r>
              <a:rPr lang="cs-CZ" sz="2400" dirty="0"/>
              <a:t>3 úrovně před poplachu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2A7FCCA-8F44-600D-8D5B-250144B115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40739" y="6406095"/>
            <a:ext cx="540035" cy="252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D789E0D2-C837-8B4F-86AA-2C445A0692A5}" type="slidenum">
              <a:rPr lang="en-GB" smtClean="0"/>
              <a:pPr>
                <a:spcAft>
                  <a:spcPts val="600"/>
                </a:spcAft>
              </a:pPr>
              <a:t>14</a:t>
            </a:fld>
            <a:endParaRPr lang="en-GB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4641E6E-9599-AA38-1124-A45CD0298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894" y="499621"/>
            <a:ext cx="9770688" cy="449010"/>
          </a:xfrm>
        </p:spPr>
        <p:txBody>
          <a:bodyPr anchor="t">
            <a:normAutofit/>
          </a:bodyPr>
          <a:lstStyle/>
          <a:p>
            <a:r>
              <a:rPr lang="cs-CZ" dirty="0"/>
              <a:t>MOBOTIX</a:t>
            </a:r>
          </a:p>
        </p:txBody>
      </p:sp>
      <p:pic>
        <p:nvPicPr>
          <p:cNvPr id="8" name="Picture 3" descr="A picture containing indoor, black, electronics, white&#10;&#10;Description automatically generated">
            <a:extLst>
              <a:ext uri="{FF2B5EF4-FFF2-40B4-BE49-F238E27FC236}">
                <a16:creationId xmlns:a16="http://schemas.microsoft.com/office/drawing/2014/main" id="{9A4C9593-3574-6F7B-8047-199C06A8B1A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9485" y="724126"/>
            <a:ext cx="8497460" cy="5681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3056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4BDA4F-FD38-9CC6-5FF5-36E582A49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673" y="518283"/>
            <a:ext cx="9770688" cy="449010"/>
          </a:xfrm>
        </p:spPr>
        <p:txBody>
          <a:bodyPr/>
          <a:lstStyle/>
          <a:p>
            <a:r>
              <a:rPr lang="cs-CZ" dirty="0"/>
              <a:t>Příklad použití v odpadovém hospodářství</a:t>
            </a:r>
          </a:p>
        </p:txBody>
      </p:sp>
      <p:pic>
        <p:nvPicPr>
          <p:cNvPr id="3" name="Bildplatzhalter 5">
            <a:extLst>
              <a:ext uri="{FF2B5EF4-FFF2-40B4-BE49-F238E27FC236}">
                <a16:creationId xmlns:a16="http://schemas.microsoft.com/office/drawing/2014/main" id="{932D7B08-573F-B010-861F-A95FD4433FF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975651"/>
            <a:ext cx="12191997" cy="36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264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0">
            <a:extLst>
              <a:ext uri="{FF2B5EF4-FFF2-40B4-BE49-F238E27FC236}">
                <a16:creationId xmlns:a16="http://schemas.microsoft.com/office/drawing/2014/main" id="{925E4603-2357-5C5E-0D23-715165DCFC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145" r="-2" b="-2"/>
          <a:stretch/>
        </p:blipFill>
        <p:spPr>
          <a:xfrm>
            <a:off x="844550" y="1465263"/>
            <a:ext cx="5180737" cy="4496400"/>
          </a:xfrm>
          <a:prstGeom prst="rect">
            <a:avLst/>
          </a:prstGeom>
          <a:noFill/>
        </p:spPr>
      </p:pic>
      <p:pic>
        <p:nvPicPr>
          <p:cNvPr id="4" name="Grafik 4">
            <a:extLst>
              <a:ext uri="{FF2B5EF4-FFF2-40B4-BE49-F238E27FC236}">
                <a16:creationId xmlns:a16="http://schemas.microsoft.com/office/drawing/2014/main" id="{E16CF621-E4E8-3AB0-F856-F6F88CFEF86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133" r="29213" b="-1"/>
          <a:stretch/>
        </p:blipFill>
        <p:spPr>
          <a:xfrm>
            <a:off x="6172200" y="1465263"/>
            <a:ext cx="5181600" cy="4496400"/>
          </a:xfrm>
          <a:prstGeom prst="rect">
            <a:avLst/>
          </a:prstGeom>
          <a:noFill/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01E2718B-7002-0E18-A62C-CF381F967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894" y="499621"/>
            <a:ext cx="9770688" cy="449010"/>
          </a:xfrm>
        </p:spPr>
        <p:txBody>
          <a:bodyPr anchor="t">
            <a:normAutofit/>
          </a:bodyPr>
          <a:lstStyle/>
          <a:p>
            <a:r>
              <a:rPr lang="cs-CZ" dirty="0"/>
              <a:t>Detekce ohniska požáru v náročném prostředí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AA26070-42E5-638E-A9F4-E2D98D62B6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40739" y="6406095"/>
            <a:ext cx="540035" cy="252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D789E0D2-C837-8B4F-86AA-2C445A0692A5}" type="slidenum">
              <a:rPr lang="en-GB" smtClean="0"/>
              <a:pPr>
                <a:spcAft>
                  <a:spcPts val="600"/>
                </a:spcAft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4535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DFF728F4-B460-C36C-86FB-8DDF78E90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nitoring nabíjení autobusů MHD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E51510-6BE0-F6D2-972C-EC02D946B5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17</a:t>
            </a:fld>
            <a:endParaRPr lang="en-GB" dirty="0"/>
          </a:p>
        </p:txBody>
      </p:sp>
      <p:pic>
        <p:nvPicPr>
          <p:cNvPr id="7" name="Thermalkamera-MobilerMast_2022-05-23_124315.jpg" descr="Thermalkamera-MobilerMast_2022-05-23_124315.jpg">
            <a:extLst>
              <a:ext uri="{FF2B5EF4-FFF2-40B4-BE49-F238E27FC236}">
                <a16:creationId xmlns:a16="http://schemas.microsoft.com/office/drawing/2014/main" id="{EE7E3ADB-4F71-B147-052C-5371D017B56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894" y="1695035"/>
            <a:ext cx="10775625" cy="40408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896797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04722A4A-5484-8028-429B-423EF5D10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894" y="499621"/>
            <a:ext cx="9770688" cy="479672"/>
          </a:xfrm>
        </p:spPr>
        <p:txBody>
          <a:bodyPr/>
          <a:lstStyle/>
          <a:p>
            <a:r>
              <a:rPr lang="cs-CZ" dirty="0"/>
              <a:t>TESLA </a:t>
            </a:r>
            <a:r>
              <a:rPr lang="cs-CZ" dirty="0" err="1"/>
              <a:t>Megapack</a:t>
            </a:r>
            <a:r>
              <a:rPr lang="cs-CZ" dirty="0"/>
              <a:t> 3,9 </a:t>
            </a:r>
            <a:r>
              <a:rPr lang="cs-CZ" dirty="0" err="1"/>
              <a:t>MWh</a:t>
            </a:r>
            <a:r>
              <a:rPr lang="cs-CZ" dirty="0"/>
              <a:t> </a:t>
            </a:r>
            <a:br>
              <a:rPr lang="cs-CZ" dirty="0"/>
            </a:br>
            <a:r>
              <a:rPr lang="cs-CZ" dirty="0"/>
              <a:t>monitoring provozních teplot lithiových baterií</a:t>
            </a:r>
          </a:p>
        </p:txBody>
      </p:sp>
      <p:pic>
        <p:nvPicPr>
          <p:cNvPr id="7" name="Inhaltsplatzhalter 4">
            <a:extLst>
              <a:ext uri="{FF2B5EF4-FFF2-40B4-BE49-F238E27FC236}">
                <a16:creationId xmlns:a16="http://schemas.microsoft.com/office/drawing/2014/main" id="{937D76FC-6C58-0BAD-A1DC-0C349A31E32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2659282"/>
            <a:ext cx="5826918" cy="3884612"/>
          </a:xfrm>
          <a:prstGeom prst="rect">
            <a:avLst/>
          </a:prstGeom>
        </p:spPr>
      </p:pic>
      <p:pic>
        <p:nvPicPr>
          <p:cNvPr id="8" name="Grafik 5">
            <a:extLst>
              <a:ext uri="{FF2B5EF4-FFF2-40B4-BE49-F238E27FC236}">
                <a16:creationId xmlns:a16="http://schemas.microsoft.com/office/drawing/2014/main" id="{D2CF1F81-09CC-7003-2EC9-5D85D88598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894" y="1350657"/>
            <a:ext cx="6530879" cy="3673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690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AA135BDD-0FE6-B701-23FC-E91A630F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nitor celého životního cyklu bateri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0598DA9-1860-9896-2A87-D71D380C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19</a:t>
            </a:fld>
            <a:endParaRPr lang="en-GB" dirty="0"/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137C4988-D1AC-42C7-05DF-747F1E95705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894" y="1252744"/>
            <a:ext cx="4225394" cy="1584523"/>
          </a:xfrm>
          <a:prstGeom prst="rect">
            <a:avLst/>
          </a:prstGeom>
        </p:spPr>
      </p:pic>
      <p:pic>
        <p:nvPicPr>
          <p:cNvPr id="8" name="Thermalkamera-MobilerMast_2022-05-23_124315.jpg" descr="Thermalkamera-MobilerMast_2022-05-23_124315.jpg">
            <a:extLst>
              <a:ext uri="{FF2B5EF4-FFF2-40B4-BE49-F238E27FC236}">
                <a16:creationId xmlns:a16="http://schemas.microsoft.com/office/drawing/2014/main" id="{72C1E71B-2F9C-72CA-5559-78C8E179DD2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664" y="4893945"/>
            <a:ext cx="4213050" cy="1579894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Bildplatzhalter 5">
            <a:extLst>
              <a:ext uri="{FF2B5EF4-FFF2-40B4-BE49-F238E27FC236}">
                <a16:creationId xmlns:a16="http://schemas.microsoft.com/office/drawing/2014/main" id="{47904EFA-8901-68A4-6378-99C17171DFC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43894" y="4961689"/>
            <a:ext cx="5313119" cy="1584523"/>
          </a:xfrm>
          <a:prstGeom prst="rect">
            <a:avLst/>
          </a:prstGeom>
        </p:spPr>
      </p:pic>
      <p:pic>
        <p:nvPicPr>
          <p:cNvPr id="10" name="Grafik 5">
            <a:extLst>
              <a:ext uri="{FF2B5EF4-FFF2-40B4-BE49-F238E27FC236}">
                <a16:creationId xmlns:a16="http://schemas.microsoft.com/office/drawing/2014/main" id="{EE898AB9-FCA5-74F6-F362-505E18821D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3282" y="1062335"/>
            <a:ext cx="2847432" cy="1601681"/>
          </a:xfrm>
          <a:prstGeom prst="rect">
            <a:avLst/>
          </a:prstGeom>
        </p:spPr>
      </p:pic>
      <p:pic>
        <p:nvPicPr>
          <p:cNvPr id="11" name="Inhaltsplatzhalter 4">
            <a:extLst>
              <a:ext uri="{FF2B5EF4-FFF2-40B4-BE49-F238E27FC236}">
                <a16:creationId xmlns:a16="http://schemas.microsoft.com/office/drawing/2014/main" id="{5C6D89D1-5B52-8AC8-4910-3C375123276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4074" y="2263706"/>
            <a:ext cx="2540508" cy="1693672"/>
          </a:xfrm>
          <a:prstGeom prst="rect">
            <a:avLst/>
          </a:prstGeom>
        </p:spPr>
      </p:pic>
      <p:pic>
        <p:nvPicPr>
          <p:cNvPr id="12" name="Inhaltsplatzhalter 8" descr="Ein Bild, das Text, Screenshot, Schrift, Logo enthält.&#10;&#10;Automatisch generierte Beschreibung">
            <a:extLst>
              <a:ext uri="{FF2B5EF4-FFF2-40B4-BE49-F238E27FC236}">
                <a16:creationId xmlns:a16="http://schemas.microsoft.com/office/drawing/2014/main" id="{8C9608DF-419A-9FFE-11D7-76901283EAE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2922" y="2305134"/>
            <a:ext cx="3626156" cy="256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806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Zástupný symbol obrázku 10">
            <a:extLst>
              <a:ext uri="{FF2B5EF4-FFF2-40B4-BE49-F238E27FC236}">
                <a16:creationId xmlns:a16="http://schemas.microsoft.com/office/drawing/2014/main" id="{71D34F19-E583-8F9C-C679-CC76A41DAE6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04" r="10604"/>
          <a:stretch/>
        </p:blipFill>
        <p:spPr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472494-85ED-4835-956B-FDA2DC1FC3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CFF95F09-154E-4DA4-B343-81FEC9916E9C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81C1AC7-B1D9-4A57-B187-19B059284E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198" y="498724"/>
            <a:ext cx="5075636" cy="343800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US" sz="4800" b="0" i="0" kern="1200" dirty="0" err="1">
                <a:solidFill>
                  <a:srgbClr val="14285C"/>
                </a:solidFill>
              </a:rPr>
              <a:t>Chráníme</a:t>
            </a:r>
            <a:r>
              <a:rPr lang="en-US" sz="4800" b="0" i="0" kern="1200" dirty="0">
                <a:solidFill>
                  <a:srgbClr val="14285C"/>
                </a:solidFill>
              </a:rPr>
              <a:t> </a:t>
            </a:r>
            <a:r>
              <a:rPr lang="en-US" sz="4800" b="0" i="0" kern="1200" dirty="0" err="1">
                <a:solidFill>
                  <a:srgbClr val="14285C"/>
                </a:solidFill>
              </a:rPr>
              <a:t>životy</a:t>
            </a:r>
            <a:r>
              <a:rPr lang="en-US" sz="4800" b="0" i="0" kern="1200" dirty="0">
                <a:solidFill>
                  <a:srgbClr val="14285C"/>
                </a:solidFill>
              </a:rPr>
              <a:t>.</a:t>
            </a:r>
            <a:br>
              <a:rPr lang="en-US" sz="4800" b="0" i="0" kern="1200" dirty="0">
                <a:solidFill>
                  <a:srgbClr val="14285C"/>
                </a:solidFill>
                <a:latin typeface="+mn-lt"/>
              </a:rPr>
            </a:br>
            <a:r>
              <a:rPr lang="en-US" sz="4800" i="0" kern="1200" dirty="0" err="1"/>
              <a:t>Střežíme</a:t>
            </a:r>
            <a:r>
              <a:rPr lang="en-US" sz="4800" i="0" kern="1200" dirty="0"/>
              <a:t> </a:t>
            </a:r>
            <a:r>
              <a:rPr lang="en-US" sz="4800" i="0" kern="1200" dirty="0" err="1"/>
              <a:t>hodnoty</a:t>
            </a:r>
            <a:r>
              <a:rPr lang="en-US" sz="4800" i="0" kern="1200" dirty="0"/>
              <a:t>.</a:t>
            </a:r>
          </a:p>
          <a:p>
            <a:endParaRPr lang="en-US" sz="1050" b="0" i="0" kern="120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74DAD4F7-60B1-60F4-BAD8-248A168A483D}"/>
              </a:ext>
            </a:extLst>
          </p:cNvPr>
          <p:cNvSpPr txBox="1">
            <a:spLocks/>
          </p:cNvSpPr>
          <p:nvPr/>
        </p:nvSpPr>
        <p:spPr bwMode="white">
          <a:xfrm>
            <a:off x="838198" y="2964349"/>
            <a:ext cx="4426530" cy="1889006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228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lang="de-DE"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AT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cs-CZ" sz="2800" dirty="0">
                <a:solidFill>
                  <a:srgbClr val="14285C"/>
                </a:solidFill>
                <a:latin typeface="Univers" panose="020B0703030502030204" pitchFamily="34" charset="0"/>
              </a:rPr>
              <a:t>Jsme r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akouská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 high-tech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společnost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zabývající</a:t>
            </a:r>
            <a:r>
              <a:rPr lang="cs-CZ" sz="2800" dirty="0">
                <a:solidFill>
                  <a:srgbClr val="14285C"/>
                </a:solidFill>
                <a:latin typeface="Univers" panose="020B0703030502030204" pitchFamily="34" charset="0"/>
              </a:rPr>
              <a:t> se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elektrickou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požární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signalizací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,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komunikačními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 a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bezpečnostními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800" dirty="0" err="1">
                <a:solidFill>
                  <a:srgbClr val="14285C"/>
                </a:solidFill>
                <a:latin typeface="Univers" panose="020B0703030502030204" pitchFamily="34" charset="0"/>
              </a:rPr>
              <a:t>systémy</a:t>
            </a:r>
            <a:r>
              <a:rPr lang="en-US" sz="2800" dirty="0">
                <a:solidFill>
                  <a:srgbClr val="14285C"/>
                </a:solidFill>
                <a:latin typeface="Univers" panose="020B0703030502030204" pitchFamily="34" charset="0"/>
              </a:rPr>
              <a:t>. </a:t>
            </a:r>
            <a:endParaRPr lang="cs-CZ" sz="2800" dirty="0">
              <a:solidFill>
                <a:srgbClr val="14285C"/>
              </a:solidFill>
              <a:latin typeface="Univers" panose="020B070303050203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800" dirty="0">
              <a:solidFill>
                <a:srgbClr val="14285C"/>
              </a:solidFill>
              <a:latin typeface="Univers" panose="020B0703030502030204" pitchFamily="34" charset="0"/>
            </a:endParaRPr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45E11EE0-69DB-DA5F-A694-AF3DB4011374}"/>
              </a:ext>
            </a:extLst>
          </p:cNvPr>
          <p:cNvSpPr txBox="1">
            <a:spLocks/>
          </p:cNvSpPr>
          <p:nvPr/>
        </p:nvSpPr>
        <p:spPr bwMode="white">
          <a:xfrm>
            <a:off x="838198" y="5040234"/>
            <a:ext cx="4426530" cy="18890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lang="de-DE"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AT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J</a:t>
            </a:r>
            <a:r>
              <a:rPr lang="cs-CZ" sz="2400" dirty="0" err="1">
                <a:solidFill>
                  <a:srgbClr val="14285C"/>
                </a:solidFill>
                <a:latin typeface="Univers" panose="020B0703030502030204" pitchFamily="34" charset="0"/>
              </a:rPr>
              <a:t>sme</a:t>
            </a: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400" dirty="0" err="1">
                <a:solidFill>
                  <a:srgbClr val="14285C"/>
                </a:solidFill>
                <a:latin typeface="Univers" panose="020B0703030502030204" pitchFamily="34" charset="0"/>
              </a:rPr>
              <a:t>jedním</a:t>
            </a: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 z </a:t>
            </a:r>
            <a:r>
              <a:rPr lang="en-US" sz="2400" dirty="0" err="1">
                <a:solidFill>
                  <a:srgbClr val="14285C"/>
                </a:solidFill>
                <a:latin typeface="Univers" panose="020B0703030502030204" pitchFamily="34" charset="0"/>
              </a:rPr>
              <a:t>předních</a:t>
            </a: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400" dirty="0" err="1">
                <a:solidFill>
                  <a:srgbClr val="14285C"/>
                </a:solidFill>
                <a:latin typeface="Univers" panose="020B0703030502030204" pitchFamily="34" charset="0"/>
              </a:rPr>
              <a:t>mezinárodních</a:t>
            </a: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cs-CZ" sz="2400" dirty="0">
                <a:solidFill>
                  <a:srgbClr val="14285C"/>
                </a:solidFill>
                <a:latin typeface="Univers" panose="020B0703030502030204" pitchFamily="34" charset="0"/>
              </a:rPr>
              <a:t>výrobců</a:t>
            </a: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 v </a:t>
            </a:r>
            <a:r>
              <a:rPr lang="en-US" sz="2400" dirty="0" err="1">
                <a:solidFill>
                  <a:srgbClr val="14285C"/>
                </a:solidFill>
                <a:latin typeface="Univers" panose="020B0703030502030204" pitchFamily="34" charset="0"/>
              </a:rPr>
              <a:t>těchto</a:t>
            </a: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 </a:t>
            </a:r>
            <a:r>
              <a:rPr lang="en-US" sz="2400" dirty="0" err="1">
                <a:solidFill>
                  <a:srgbClr val="14285C"/>
                </a:solidFill>
                <a:latin typeface="Univers" panose="020B0703030502030204" pitchFamily="34" charset="0"/>
              </a:rPr>
              <a:t>oblastech</a:t>
            </a:r>
            <a:r>
              <a:rPr lang="en-US" sz="2400" dirty="0">
                <a:solidFill>
                  <a:srgbClr val="14285C"/>
                </a:solidFill>
                <a:latin typeface="Univers" panose="020B0703030502030204" pitchFamily="34" charset="0"/>
              </a:rPr>
              <a:t>.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800" dirty="0">
              <a:solidFill>
                <a:srgbClr val="14285C"/>
              </a:solidFill>
              <a:latin typeface="Univers" panose="020B07030305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489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740559A2-A20D-FBFF-D25D-5E9EB758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nitoring FVE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A3699E9-46A0-B6CF-49F3-C0687E4F38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20</a:t>
            </a:fld>
            <a:endParaRPr lang="en-GB" dirty="0"/>
          </a:p>
        </p:txBody>
      </p:sp>
      <p:pic>
        <p:nvPicPr>
          <p:cNvPr id="7" name="Bildplatzhalter 13" descr="Ein Bild, das Gebäude, Kompositmaterial, Reihe, Gewerbegebäude enthält.&#10;&#10;Automatisch generierte Beschreibung">
            <a:extLst>
              <a:ext uri="{FF2B5EF4-FFF2-40B4-BE49-F238E27FC236}">
                <a16:creationId xmlns:a16="http://schemas.microsoft.com/office/drawing/2014/main" id="{41EE163A-679C-D687-3858-6E6BF7C0DB6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1837889"/>
            <a:ext cx="12191997" cy="36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0044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F1466CC-BFE4-7A8B-2A96-0041F90413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44" r="13764"/>
          <a:stretch/>
        </p:blipFill>
        <p:spPr>
          <a:xfrm>
            <a:off x="4900560" y="-26043"/>
            <a:ext cx="7308000" cy="6912000"/>
          </a:xfrm>
          <a:custGeom>
            <a:avLst/>
            <a:gdLst>
              <a:gd name="connsiteX0" fmla="*/ 0 w 14983580"/>
              <a:gd name="connsiteY0" fmla="*/ 0 h 13716000"/>
              <a:gd name="connsiteX1" fmla="*/ 14983580 w 14983580"/>
              <a:gd name="connsiteY1" fmla="*/ 0 h 13716000"/>
              <a:gd name="connsiteX2" fmla="*/ 14983580 w 14983580"/>
              <a:gd name="connsiteY2" fmla="*/ 13716000 h 13716000"/>
              <a:gd name="connsiteX3" fmla="*/ 0 w 14983580"/>
              <a:gd name="connsiteY3" fmla="*/ 13716000 h 13716000"/>
              <a:gd name="connsiteX4" fmla="*/ 0 w 14983580"/>
              <a:gd name="connsiteY4" fmla="*/ 0 h 13716000"/>
              <a:gd name="connsiteX0" fmla="*/ 6415790 w 14983580"/>
              <a:gd name="connsiteY0" fmla="*/ 0 h 13730990"/>
              <a:gd name="connsiteX1" fmla="*/ 14983580 w 14983580"/>
              <a:gd name="connsiteY1" fmla="*/ 14990 h 13730990"/>
              <a:gd name="connsiteX2" fmla="*/ 14983580 w 14983580"/>
              <a:gd name="connsiteY2" fmla="*/ 13730990 h 13730990"/>
              <a:gd name="connsiteX3" fmla="*/ 0 w 14983580"/>
              <a:gd name="connsiteY3" fmla="*/ 13730990 h 13730990"/>
              <a:gd name="connsiteX4" fmla="*/ 6415790 w 14983580"/>
              <a:gd name="connsiteY4" fmla="*/ 0 h 13730990"/>
              <a:gd name="connsiteX0" fmla="*/ 6817788 w 15385578"/>
              <a:gd name="connsiteY0" fmla="*/ 0 h 13730990"/>
              <a:gd name="connsiteX1" fmla="*/ 15385578 w 15385578"/>
              <a:gd name="connsiteY1" fmla="*/ 14990 h 13730990"/>
              <a:gd name="connsiteX2" fmla="*/ 15385578 w 15385578"/>
              <a:gd name="connsiteY2" fmla="*/ 13730990 h 13730990"/>
              <a:gd name="connsiteX3" fmla="*/ 0 w 15385578"/>
              <a:gd name="connsiteY3" fmla="*/ 13730990 h 13730990"/>
              <a:gd name="connsiteX4" fmla="*/ 6817788 w 15385578"/>
              <a:gd name="connsiteY4" fmla="*/ 0 h 13730990"/>
              <a:gd name="connsiteX0" fmla="*/ 6817788 w 15385578"/>
              <a:gd name="connsiteY0" fmla="*/ 30661 h 13761651"/>
              <a:gd name="connsiteX1" fmla="*/ 15385578 w 15385578"/>
              <a:gd name="connsiteY1" fmla="*/ 0 h 13761651"/>
              <a:gd name="connsiteX2" fmla="*/ 15385578 w 15385578"/>
              <a:gd name="connsiteY2" fmla="*/ 13761651 h 13761651"/>
              <a:gd name="connsiteX3" fmla="*/ 0 w 15385578"/>
              <a:gd name="connsiteY3" fmla="*/ 13761651 h 13761651"/>
              <a:gd name="connsiteX4" fmla="*/ 6817788 w 15385578"/>
              <a:gd name="connsiteY4" fmla="*/ 30661 h 13761651"/>
              <a:gd name="connsiteX0" fmla="*/ 6817788 w 15385578"/>
              <a:gd name="connsiteY0" fmla="*/ 228 h 13731218"/>
              <a:gd name="connsiteX1" fmla="*/ 15385578 w 15385578"/>
              <a:gd name="connsiteY1" fmla="*/ 0 h 13731218"/>
              <a:gd name="connsiteX2" fmla="*/ 15385578 w 15385578"/>
              <a:gd name="connsiteY2" fmla="*/ 13731218 h 13731218"/>
              <a:gd name="connsiteX3" fmla="*/ 0 w 15385578"/>
              <a:gd name="connsiteY3" fmla="*/ 13731218 h 13731218"/>
              <a:gd name="connsiteX4" fmla="*/ 6817788 w 15385578"/>
              <a:gd name="connsiteY4" fmla="*/ 228 h 13731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5578" h="13731218">
                <a:moveTo>
                  <a:pt x="6817788" y="228"/>
                </a:moveTo>
                <a:lnTo>
                  <a:pt x="15385578" y="0"/>
                </a:lnTo>
                <a:lnTo>
                  <a:pt x="15385578" y="13731218"/>
                </a:lnTo>
                <a:lnTo>
                  <a:pt x="0" y="13731218"/>
                </a:lnTo>
                <a:lnTo>
                  <a:pt x="6817788" y="228"/>
                </a:lnTo>
                <a:close/>
              </a:path>
            </a:pathLst>
          </a:custGeom>
          <a:noFill/>
        </p:spPr>
      </p:pic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6C95208-DF2F-E6CE-F955-80CB18419F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40739" y="6406095"/>
            <a:ext cx="540035" cy="252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789E0D2-C837-8B4F-86AA-2C445A0692A5}" type="slidenum">
              <a:rPr lang="en-GB" smtClean="0"/>
              <a:pPr>
                <a:spcAft>
                  <a:spcPts val="600"/>
                </a:spcAft>
              </a:pPr>
              <a:t>21</a:t>
            </a:fld>
            <a:endParaRPr lang="en-GB"/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19076A87-90CC-62CE-CE94-58F071BA0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894" y="499621"/>
            <a:ext cx="9770688" cy="449010"/>
          </a:xfrm>
        </p:spPr>
        <p:txBody>
          <a:bodyPr/>
          <a:lstStyle/>
          <a:p>
            <a:r>
              <a:rPr lang="en-US" dirty="0"/>
              <a:t>Integral Mobile</a:t>
            </a:r>
          </a:p>
        </p:txBody>
      </p:sp>
      <p:sp>
        <p:nvSpPr>
          <p:cNvPr id="7" name="Zástupný text 12">
            <a:extLst>
              <a:ext uri="{FF2B5EF4-FFF2-40B4-BE49-F238E27FC236}">
                <a16:creationId xmlns:a16="http://schemas.microsoft.com/office/drawing/2014/main" id="{DD07BA0F-5546-3E76-2519-32286A853F5F}"/>
              </a:ext>
            </a:extLst>
          </p:cNvPr>
          <p:cNvSpPr txBox="1">
            <a:spLocks/>
          </p:cNvSpPr>
          <p:nvPr/>
        </p:nvSpPr>
        <p:spPr>
          <a:xfrm>
            <a:off x="843892" y="1961412"/>
            <a:ext cx="4486575" cy="4500562"/>
          </a:xfrm>
          <a:custGeom>
            <a:avLst/>
            <a:gdLst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75767 w 5075767"/>
              <a:gd name="connsiteY2" fmla="*/ 4083049 h 4083049"/>
              <a:gd name="connsiteX3" fmla="*/ 0 w 5075767"/>
              <a:gd name="connsiteY3" fmla="*/ 4083049 h 4083049"/>
              <a:gd name="connsiteX4" fmla="*/ 0 w 5075767"/>
              <a:gd name="connsiteY4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75767 w 5075767"/>
              <a:gd name="connsiteY2" fmla="*/ 408304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5075767 w 5075767"/>
              <a:gd name="connsiteY3" fmla="*/ 4083049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923"/>
              <a:gd name="connsiteY0" fmla="*/ 0 h 4083049"/>
              <a:gd name="connsiteX1" fmla="*/ 5075767 w 5075923"/>
              <a:gd name="connsiteY1" fmla="*/ 0 h 4083049"/>
              <a:gd name="connsiteX2" fmla="*/ 5068613 w 5075923"/>
              <a:gd name="connsiteY2" fmla="*/ 2501679 h 4083049"/>
              <a:gd name="connsiteX3" fmla="*/ 5075767 w 5075923"/>
              <a:gd name="connsiteY3" fmla="*/ 4083049 h 4083049"/>
              <a:gd name="connsiteX4" fmla="*/ 4133192 w 5075923"/>
              <a:gd name="connsiteY4" fmla="*/ 4078231 h 4083049"/>
              <a:gd name="connsiteX5" fmla="*/ 0 w 5075923"/>
              <a:gd name="connsiteY5" fmla="*/ 4083049 h 4083049"/>
              <a:gd name="connsiteX6" fmla="*/ 0 w 5075923"/>
              <a:gd name="connsiteY6" fmla="*/ 0 h 4083049"/>
              <a:gd name="connsiteX0" fmla="*/ 0 w 5075923"/>
              <a:gd name="connsiteY0" fmla="*/ 0 h 4083049"/>
              <a:gd name="connsiteX1" fmla="*/ 5075767 w 5075923"/>
              <a:gd name="connsiteY1" fmla="*/ 0 h 4083049"/>
              <a:gd name="connsiteX2" fmla="*/ 5068613 w 5075923"/>
              <a:gd name="connsiteY2" fmla="*/ 2501679 h 4083049"/>
              <a:gd name="connsiteX3" fmla="*/ 5075767 w 5075923"/>
              <a:gd name="connsiteY3" fmla="*/ 4083049 h 4083049"/>
              <a:gd name="connsiteX4" fmla="*/ 4133192 w 5075923"/>
              <a:gd name="connsiteY4" fmla="*/ 4078231 h 4083049"/>
              <a:gd name="connsiteX5" fmla="*/ 0 w 5075923"/>
              <a:gd name="connsiteY5" fmla="*/ 4083049 h 4083049"/>
              <a:gd name="connsiteX6" fmla="*/ 0 w 5075923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676374 w 5075767"/>
              <a:gd name="connsiteY3" fmla="*/ 3357836 h 4083049"/>
              <a:gd name="connsiteX4" fmla="*/ 4133192 w 5075767"/>
              <a:gd name="connsiteY4" fmla="*/ 4078231 h 4083049"/>
              <a:gd name="connsiteX5" fmla="*/ 0 w 5075767"/>
              <a:gd name="connsiteY5" fmla="*/ 4083049 h 4083049"/>
              <a:gd name="connsiteX6" fmla="*/ 0 w 5075767"/>
              <a:gd name="connsiteY6" fmla="*/ 0 h 4083049"/>
              <a:gd name="connsiteX0" fmla="*/ 0 w 5286092"/>
              <a:gd name="connsiteY0" fmla="*/ 0 h 4114581"/>
              <a:gd name="connsiteX1" fmla="*/ 5075767 w 5286092"/>
              <a:gd name="connsiteY1" fmla="*/ 0 h 4114581"/>
              <a:gd name="connsiteX2" fmla="*/ 5068613 w 5286092"/>
              <a:gd name="connsiteY2" fmla="*/ 2501679 h 4114581"/>
              <a:gd name="connsiteX3" fmla="*/ 5285974 w 5286092"/>
              <a:gd name="connsiteY3" fmla="*/ 4114581 h 4114581"/>
              <a:gd name="connsiteX4" fmla="*/ 4133192 w 5286092"/>
              <a:gd name="connsiteY4" fmla="*/ 4078231 h 4114581"/>
              <a:gd name="connsiteX5" fmla="*/ 0 w 5286092"/>
              <a:gd name="connsiteY5" fmla="*/ 4083049 h 4114581"/>
              <a:gd name="connsiteX6" fmla="*/ 0 w 5286092"/>
              <a:gd name="connsiteY6" fmla="*/ 0 h 4114581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5767"/>
              <a:gd name="connsiteY0" fmla="*/ 0 h 4083049"/>
              <a:gd name="connsiteX1" fmla="*/ 5075767 w 5075767"/>
              <a:gd name="connsiteY1" fmla="*/ 0 h 4083049"/>
              <a:gd name="connsiteX2" fmla="*/ 5068613 w 5075767"/>
              <a:gd name="connsiteY2" fmla="*/ 2501679 h 4083049"/>
              <a:gd name="connsiteX3" fmla="*/ 4133192 w 5075767"/>
              <a:gd name="connsiteY3" fmla="*/ 4078231 h 4083049"/>
              <a:gd name="connsiteX4" fmla="*/ 0 w 5075767"/>
              <a:gd name="connsiteY4" fmla="*/ 4083049 h 4083049"/>
              <a:gd name="connsiteX5" fmla="*/ 0 w 5075767"/>
              <a:gd name="connsiteY5" fmla="*/ 0 h 4083049"/>
              <a:gd name="connsiteX0" fmla="*/ 0 w 5079566"/>
              <a:gd name="connsiteY0" fmla="*/ 0 h 4083049"/>
              <a:gd name="connsiteX1" fmla="*/ 5075767 w 5079566"/>
              <a:gd name="connsiteY1" fmla="*/ 0 h 4083049"/>
              <a:gd name="connsiteX2" fmla="*/ 5079123 w 5079566"/>
              <a:gd name="connsiteY2" fmla="*/ 2312493 h 4083049"/>
              <a:gd name="connsiteX3" fmla="*/ 4133192 w 5079566"/>
              <a:gd name="connsiteY3" fmla="*/ 4078231 h 4083049"/>
              <a:gd name="connsiteX4" fmla="*/ 0 w 5079566"/>
              <a:gd name="connsiteY4" fmla="*/ 4083049 h 4083049"/>
              <a:gd name="connsiteX5" fmla="*/ 0 w 5079566"/>
              <a:gd name="connsiteY5" fmla="*/ 0 h 408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79566" h="4083049">
                <a:moveTo>
                  <a:pt x="0" y="0"/>
                </a:moveTo>
                <a:lnTo>
                  <a:pt x="5075767" y="0"/>
                </a:lnTo>
                <a:cubicBezTo>
                  <a:pt x="5073382" y="833893"/>
                  <a:pt x="5081508" y="1478600"/>
                  <a:pt x="5079123" y="2312493"/>
                </a:cubicBezTo>
                <a:lnTo>
                  <a:pt x="4133192" y="4078231"/>
                </a:lnTo>
                <a:lnTo>
                  <a:pt x="0" y="4083049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lIns="0" tIns="0" rIns="0" bIns="0" rtlCol="0">
            <a:norm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AT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cs-CZ" sz="2000" dirty="0">
                <a:latin typeface="Univers Next W1G" panose="020B0503030202020203" pitchFamily="34" charset="0"/>
              </a:rPr>
              <a:t>mobilní aplikace pro vzdálený přístup k systému EPS</a:t>
            </a:r>
          </a:p>
          <a:p>
            <a:pPr>
              <a:lnSpc>
                <a:spcPct val="150000"/>
              </a:lnSpc>
            </a:pPr>
            <a:r>
              <a:rPr lang="cs-CZ" sz="2000" dirty="0">
                <a:latin typeface="Univers Next W1G" panose="020B0503030202020203" pitchFamily="34" charset="0"/>
              </a:rPr>
              <a:t>zjednodušení servisních i provozních procesů odkudkoli</a:t>
            </a:r>
          </a:p>
          <a:p>
            <a:pPr>
              <a:lnSpc>
                <a:spcPct val="150000"/>
              </a:lnSpc>
            </a:pPr>
            <a:r>
              <a:rPr lang="cs-CZ" sz="2000" dirty="0">
                <a:latin typeface="Univers Next W1G" panose="020B0503030202020203" pitchFamily="34" charset="0"/>
              </a:rPr>
              <a:t>zobrazení detailních informací na úroveň jednotlivých prvků</a:t>
            </a:r>
          </a:p>
          <a:p>
            <a:pPr>
              <a:lnSpc>
                <a:spcPct val="150000"/>
              </a:lnSpc>
            </a:pPr>
            <a:r>
              <a:rPr lang="cs-CZ" sz="2000" dirty="0">
                <a:latin typeface="Univers Next W1G" panose="020B0503030202020203" pitchFamily="34" charset="0"/>
              </a:rPr>
              <a:t>omezení ovládání </a:t>
            </a:r>
            <a:r>
              <a:rPr lang="cs-CZ" sz="2000" dirty="0" err="1">
                <a:latin typeface="Univers Next W1G" panose="020B0503030202020203" pitchFamily="34" charset="0"/>
              </a:rPr>
              <a:t>geolokací</a:t>
            </a:r>
            <a:endParaRPr lang="cs-CZ" sz="2000" dirty="0">
              <a:latin typeface="Univers Next W1G" panose="020B0503030202020203" pitchFamily="34" charset="0"/>
            </a:endParaRPr>
          </a:p>
          <a:p>
            <a:pPr>
              <a:lnSpc>
                <a:spcPct val="150000"/>
              </a:lnSpc>
            </a:pPr>
            <a:r>
              <a:rPr lang="cs-CZ" sz="2000" dirty="0">
                <a:latin typeface="Univers Next W1G" panose="020B0503030202020203" pitchFamily="34" charset="0"/>
              </a:rPr>
              <a:t>zobrazení historie událostí</a:t>
            </a:r>
          </a:p>
          <a:p>
            <a:pPr>
              <a:lnSpc>
                <a:spcPct val="150000"/>
              </a:lnSpc>
            </a:pPr>
            <a:endParaRPr lang="cs-CZ" sz="2000" dirty="0">
              <a:latin typeface="Univers Next W1G" panose="020B0503030202020203" pitchFamily="34" charset="0"/>
            </a:endParaRPr>
          </a:p>
          <a:p>
            <a:pPr>
              <a:lnSpc>
                <a:spcPct val="150000"/>
              </a:lnSpc>
            </a:pPr>
            <a:endParaRPr lang="cs-CZ" dirty="0">
              <a:latin typeface="Univers Next W1G" panose="020B0503030202020203" pitchFamily="34" charset="0"/>
            </a:endParaRPr>
          </a:p>
          <a:p>
            <a:pPr>
              <a:lnSpc>
                <a:spcPct val="150000"/>
              </a:lnSpc>
            </a:pPr>
            <a:endParaRPr lang="cs-CZ" dirty="0">
              <a:latin typeface="Univers Next W1G" panose="020B0503030202020203" pitchFamily="34" charset="0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0983EF2-EBC1-477B-C531-B0F5CAC3A869}"/>
              </a:ext>
            </a:extLst>
          </p:cNvPr>
          <p:cNvSpPr txBox="1"/>
          <p:nvPr/>
        </p:nvSpPr>
        <p:spPr>
          <a:xfrm>
            <a:off x="749764" y="1169893"/>
            <a:ext cx="4486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dirty="0">
                <a:solidFill>
                  <a:schemeClr val="accent4"/>
                </a:solidFill>
              </a:rPr>
              <a:t>Informace na prvním místě</a:t>
            </a:r>
          </a:p>
        </p:txBody>
      </p:sp>
    </p:spTree>
    <p:extLst>
      <p:ext uri="{BB962C8B-B14F-4D97-AF65-F5344CB8AC3E}">
        <p14:creationId xmlns:p14="http://schemas.microsoft.com/office/powerpoint/2010/main" val="30215671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9E2A41E-DAB3-6E9F-8A79-74689EA4B4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3894" y="1433397"/>
            <a:ext cx="6541644" cy="4083049"/>
          </a:xfrm>
        </p:spPr>
        <p:txBody>
          <a:bodyPr/>
          <a:lstStyle/>
          <a:p>
            <a:pPr marL="0" indent="0" algn="l">
              <a:buNone/>
            </a:pPr>
            <a:r>
              <a:rPr lang="cs-CZ" sz="2400" b="1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Bc. Tomáš </a:t>
            </a:r>
            <a:r>
              <a:rPr lang="cs-CZ" sz="2400" b="1" i="0" u="none" strike="noStrike" dirty="0" err="1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Ekrt</a:t>
            </a:r>
            <a: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 </a:t>
            </a:r>
            <a:b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</a:br>
            <a:r>
              <a:rPr lang="cs-CZ" sz="2400" b="0" i="0" u="none" strike="noStrike" dirty="0" err="1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Head</a:t>
            </a:r>
            <a: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cs-CZ" sz="2400" b="0" i="0" u="none" strike="noStrike" dirty="0" err="1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of</a:t>
            </a:r>
            <a: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cs-CZ" sz="2400" b="0" i="0" u="none" strike="noStrike" dirty="0" err="1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Representative</a:t>
            </a:r>
            <a: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 Office Czech Republic</a:t>
            </a:r>
            <a:b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</a:br>
            <a:b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</a:br>
            <a: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cs-CZ" sz="2400" dirty="0">
                <a:solidFill>
                  <a:srgbClr val="14285C"/>
                </a:solidFill>
                <a:latin typeface="Arial" panose="020B0604020202020204" pitchFamily="34" charset="0"/>
              </a:rPr>
              <a:t>+420 725 719 128</a:t>
            </a:r>
            <a:b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</a:br>
            <a: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 t.ekrt@schrack-seconet.cz</a:t>
            </a:r>
          </a:p>
          <a:p>
            <a:pPr marL="0" indent="0" algn="l">
              <a:buNone/>
            </a:pPr>
            <a:endParaRPr lang="cs-CZ" sz="2400" dirty="0">
              <a:solidFill>
                <a:srgbClr val="14285C"/>
              </a:solidFill>
              <a:latin typeface="Arial" panose="020B0604020202020204" pitchFamily="34" charset="0"/>
            </a:endParaRPr>
          </a:p>
          <a:p>
            <a:pPr marL="0" indent="0" algn="l">
              <a:buNone/>
            </a:pPr>
            <a:endParaRPr lang="cs-CZ" sz="2400" dirty="0">
              <a:solidFill>
                <a:srgbClr val="14285C"/>
              </a:solidFill>
              <a:latin typeface="Arial" panose="020B0604020202020204" pitchFamily="34" charset="0"/>
            </a:endParaRPr>
          </a:p>
          <a:p>
            <a:pPr marL="0" indent="0" algn="l">
              <a:buNone/>
            </a:pPr>
            <a:r>
              <a:rPr lang="cs-CZ" sz="2400" b="1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Jan Čečrdle</a:t>
            </a:r>
          </a:p>
          <a:p>
            <a:pPr marL="0" indent="0" algn="l">
              <a:buNone/>
            </a:pPr>
            <a:r>
              <a:rPr lang="cs-CZ" sz="2400" dirty="0">
                <a:solidFill>
                  <a:srgbClr val="14285C"/>
                </a:solidFill>
                <a:latin typeface="Arial" panose="020B0604020202020204" pitchFamily="34" charset="0"/>
              </a:rPr>
              <a:t>Sales &amp; Technical Support</a:t>
            </a:r>
          </a:p>
          <a:p>
            <a:pPr marL="0" indent="0" algn="l">
              <a:buNone/>
            </a:pPr>
            <a:r>
              <a:rPr lang="cs-CZ" sz="2400" b="0" i="0" u="none" strike="noStrike" dirty="0">
                <a:solidFill>
                  <a:srgbClr val="14285C"/>
                </a:solidFill>
                <a:effectLst/>
                <a:latin typeface="Arial" panose="020B0604020202020204" pitchFamily="34" charset="0"/>
              </a:rPr>
              <a:t>+420 774 828 154</a:t>
            </a:r>
          </a:p>
          <a:p>
            <a:pPr marL="0" indent="0" algn="l">
              <a:buNone/>
            </a:pPr>
            <a:r>
              <a:rPr lang="cs-CZ" sz="2400" dirty="0">
                <a:solidFill>
                  <a:srgbClr val="14285C"/>
                </a:solidFill>
                <a:latin typeface="Arial" panose="020B0604020202020204" pitchFamily="34" charset="0"/>
              </a:rPr>
              <a:t>j.cecrdle@schrack-seconet.cz</a:t>
            </a:r>
            <a:endParaRPr lang="cs-CZ" sz="2400" b="0" i="0" u="none" strike="noStrike" dirty="0">
              <a:solidFill>
                <a:srgbClr val="212121"/>
              </a:solidFill>
              <a:effectLst/>
              <a:latin typeface="Aptos" panose="020B0004020202020204" pitchFamily="34" charset="0"/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522FDC3-D81B-2986-2681-20CC0F017E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503D8995-6CFB-C18A-A7B0-45B1AFD7A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takty</a:t>
            </a:r>
          </a:p>
        </p:txBody>
      </p:sp>
      <p:pic>
        <p:nvPicPr>
          <p:cNvPr id="8" name="Bildplatzhalter 3">
            <a:extLst>
              <a:ext uri="{FF2B5EF4-FFF2-40B4-BE49-F238E27FC236}">
                <a16:creationId xmlns:a16="http://schemas.microsoft.com/office/drawing/2014/main" id="{CBB1F7C0-E21A-1BD4-ED0D-843920BB579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" r="177"/>
          <a:stretch/>
        </p:blipFill>
        <p:spPr>
          <a:xfrm>
            <a:off x="5129212" y="-25400"/>
            <a:ext cx="7062788" cy="6911975"/>
          </a:xfrm>
        </p:spPr>
      </p:pic>
    </p:spTree>
    <p:extLst>
      <p:ext uri="{BB962C8B-B14F-4D97-AF65-F5344CB8AC3E}">
        <p14:creationId xmlns:p14="http://schemas.microsoft.com/office/powerpoint/2010/main" val="2196175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6C80850F-DDE8-31D8-4373-A25C05BF3D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89E0D2-C837-8B4F-86AA-2C445A0692A5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66EE44C4-EF17-649D-8EC0-8C25CF185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áte dotaz?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8FAD4812-C94A-B363-3049-E21B0EECF299}"/>
              </a:ext>
            </a:extLst>
          </p:cNvPr>
          <p:cNvSpPr txBox="1"/>
          <p:nvPr/>
        </p:nvSpPr>
        <p:spPr>
          <a:xfrm>
            <a:off x="2708528" y="1186696"/>
            <a:ext cx="2653290" cy="58323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373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6B66A200-045A-3597-6AF4-538DFC242364}"/>
              </a:ext>
            </a:extLst>
          </p:cNvPr>
          <p:cNvSpPr txBox="1"/>
          <p:nvPr/>
        </p:nvSpPr>
        <p:spPr>
          <a:xfrm>
            <a:off x="5164355" y="686559"/>
            <a:ext cx="161454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16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E5D715AB-C105-3ADC-BE22-49CAB2C5C9AE}"/>
              </a:ext>
            </a:extLst>
          </p:cNvPr>
          <p:cNvSpPr txBox="1"/>
          <p:nvPr/>
        </p:nvSpPr>
        <p:spPr>
          <a:xfrm>
            <a:off x="5334568" y="4005438"/>
            <a:ext cx="81945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96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29CE511-DC43-6A1A-F884-7E1DD564668D}"/>
              </a:ext>
            </a:extLst>
          </p:cNvPr>
          <p:cNvSpPr txBox="1"/>
          <p:nvPr/>
        </p:nvSpPr>
        <p:spPr>
          <a:xfrm>
            <a:off x="1979192" y="1276705"/>
            <a:ext cx="81945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96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1A097C78-9C40-174B-053B-EB9CC5B291B4}"/>
              </a:ext>
            </a:extLst>
          </p:cNvPr>
          <p:cNvSpPr txBox="1"/>
          <p:nvPr/>
        </p:nvSpPr>
        <p:spPr>
          <a:xfrm>
            <a:off x="8066390" y="686559"/>
            <a:ext cx="81945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96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B708276-8757-61E1-F6F2-2AB0DFE61C7E}"/>
              </a:ext>
            </a:extLst>
          </p:cNvPr>
          <p:cNvSpPr txBox="1"/>
          <p:nvPr/>
        </p:nvSpPr>
        <p:spPr>
          <a:xfrm>
            <a:off x="7539690" y="4005438"/>
            <a:ext cx="1146468" cy="2400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50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24AF7390-955D-FB75-568C-5DEDE7701227}"/>
              </a:ext>
            </a:extLst>
          </p:cNvPr>
          <p:cNvSpPr txBox="1"/>
          <p:nvPr/>
        </p:nvSpPr>
        <p:spPr>
          <a:xfrm>
            <a:off x="9145619" y="2747073"/>
            <a:ext cx="1614545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16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F2E11C19-552F-58ED-46E1-AA1EB115BFB9}"/>
              </a:ext>
            </a:extLst>
          </p:cNvPr>
          <p:cNvSpPr txBox="1"/>
          <p:nvPr/>
        </p:nvSpPr>
        <p:spPr>
          <a:xfrm>
            <a:off x="3555365" y="92392"/>
            <a:ext cx="1146468" cy="2400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50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23B31A8-0E3F-74E3-C566-FEA84EBDE8A7}"/>
              </a:ext>
            </a:extLst>
          </p:cNvPr>
          <p:cNvSpPr txBox="1"/>
          <p:nvPr/>
        </p:nvSpPr>
        <p:spPr>
          <a:xfrm>
            <a:off x="1266772" y="3237593"/>
            <a:ext cx="1146468" cy="2400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50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25CCD176-599B-2DB2-5B76-21D4696509EC}"/>
              </a:ext>
            </a:extLst>
          </p:cNvPr>
          <p:cNvSpPr txBox="1"/>
          <p:nvPr/>
        </p:nvSpPr>
        <p:spPr>
          <a:xfrm>
            <a:off x="6949113" y="1779628"/>
            <a:ext cx="1146468" cy="2400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50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035D7361-E618-0252-585C-CE7968318E52}"/>
              </a:ext>
            </a:extLst>
          </p:cNvPr>
          <p:cNvSpPr txBox="1"/>
          <p:nvPr/>
        </p:nvSpPr>
        <p:spPr>
          <a:xfrm>
            <a:off x="9510722" y="1175480"/>
            <a:ext cx="1146468" cy="2400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5000" b="1" dirty="0">
                <a:solidFill>
                  <a:srgbClr val="FF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536945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9817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FC2B6C6-B90A-4353-9521-EB7E15A872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24865" y="4950388"/>
            <a:ext cx="1615369" cy="864000"/>
          </a:xfrm>
        </p:spPr>
        <p:txBody>
          <a:bodyPr/>
          <a:lstStyle/>
          <a:p>
            <a:pPr algn="l" rtl="0"/>
            <a:r>
              <a:rPr lang="cs-CZ" b="0" i="0" u="none" baseline="0" dirty="0"/>
              <a:t>Majoritní podíl získala</a:t>
            </a:r>
            <a:br>
              <a:rPr lang="cs-CZ" b="0" i="0" u="none" baseline="0" dirty="0"/>
            </a:br>
            <a:r>
              <a:rPr lang="cs-CZ" b="0" i="0" u="none" baseline="0" dirty="0" err="1"/>
              <a:t>Securitas</a:t>
            </a:r>
            <a:r>
              <a:rPr lang="cs-CZ" b="0" i="0" u="none" baseline="0" dirty="0"/>
              <a:t> Group </a:t>
            </a:r>
            <a:r>
              <a:rPr lang="cs-CZ" b="0" i="0" u="none" baseline="0" dirty="0" err="1"/>
              <a:t>Switzerland</a:t>
            </a:r>
            <a:endParaRPr lang="cs-CZ" b="0" i="0" u="none" baseline="0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8D41494-38E9-4AF9-A263-1D3CC12D94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40132" y="1729664"/>
            <a:ext cx="1630906" cy="864000"/>
          </a:xfrm>
        </p:spPr>
        <p:txBody>
          <a:bodyPr/>
          <a:lstStyle/>
          <a:p>
            <a:pPr algn="l" rtl="0"/>
            <a:r>
              <a:rPr lang="cs-CZ" b="0" i="0" u="none" baseline="0"/>
              <a:t>100% podíl získala</a:t>
            </a:r>
            <a:br>
              <a:rPr lang="cs-CZ" b="0" i="0" u="none" baseline="0"/>
            </a:br>
            <a:r>
              <a:rPr lang="cs-CZ" b="0" i="0" u="none" baseline="0"/>
              <a:t>Securitas Group Switzerland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7366477D-243F-4CA2-B51A-AC0004F84D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74842" y="1702664"/>
            <a:ext cx="1536535" cy="864000"/>
          </a:xfrm>
        </p:spPr>
        <p:txBody>
          <a:bodyPr/>
          <a:lstStyle/>
          <a:p>
            <a:pPr algn="l" rtl="0"/>
            <a:r>
              <a:rPr lang="cs-CZ" b="0" i="0" u="none" baseline="0"/>
              <a:t>Schrack Telekom AG divize “Zabezpečovací a nouzové komunikační systémy”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8A9955B4-D2E7-492A-A8EF-EDB83B52DA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19154" y="4941112"/>
            <a:ext cx="1371530" cy="864000"/>
          </a:xfrm>
        </p:spPr>
        <p:txBody>
          <a:bodyPr/>
          <a:lstStyle/>
          <a:p>
            <a:pPr algn="l" rtl="0"/>
            <a:r>
              <a:rPr lang="cs-CZ" b="0" i="0" u="none" baseline="0"/>
              <a:t>Radio lab </a:t>
            </a:r>
            <a:br>
              <a:rPr lang="cs-CZ"/>
            </a:br>
            <a:r>
              <a:rPr lang="cs-CZ" b="0" i="0" u="none" baseline="0"/>
              <a:t>E. Schrack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CF9DA19-D61D-4655-9F8E-7F82F167E0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00746" y="4941112"/>
            <a:ext cx="1586518" cy="864000"/>
          </a:xfrm>
        </p:spPr>
        <p:txBody>
          <a:bodyPr/>
          <a:lstStyle/>
          <a:p>
            <a:pPr algn="l" rtl="0"/>
            <a:r>
              <a:rPr lang="cs-CZ" b="0" i="0" u="none" baseline="0"/>
              <a:t>Založení</a:t>
            </a:r>
            <a:br>
              <a:rPr lang="cs-CZ"/>
            </a:br>
            <a:r>
              <a:rPr lang="cs-CZ" b="0" i="0" u="none" baseline="0"/>
              <a:t>Schrack Seconet A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D29C613E-69CA-4628-83A7-668E9EAC02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71721" y="4941112"/>
            <a:ext cx="1748511" cy="864000"/>
          </a:xfrm>
        </p:spPr>
        <p:txBody>
          <a:bodyPr/>
          <a:lstStyle/>
          <a:p>
            <a:pPr algn="l" rtl="0"/>
            <a:r>
              <a:rPr lang="cs-CZ" b="0" i="0" u="none" baseline="0"/>
              <a:t>Vybudováno kompetenční centrum pro požární signalizaci, nouzové komunikační a platební systémy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F7B7F516-60C0-43B1-A730-3AE954100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734119" y="1727870"/>
            <a:ext cx="2182896" cy="864000"/>
          </a:xfrm>
        </p:spPr>
        <p:txBody>
          <a:bodyPr/>
          <a:lstStyle/>
          <a:p>
            <a:pPr algn="l" rtl="0"/>
            <a:r>
              <a:rPr lang="cs-CZ" b="0" i="0" u="none" baseline="0"/>
              <a:t>Schrack Seconet </a:t>
            </a:r>
            <a:br>
              <a:rPr lang="cs-CZ"/>
            </a:br>
            <a:r>
              <a:rPr lang="cs-CZ" b="0" i="0" u="none" baseline="0"/>
              <a:t>Care Communication GmbH </a:t>
            </a:r>
          </a:p>
        </p:txBody>
      </p:sp>
      <p:sp>
        <p:nvSpPr>
          <p:cNvPr id="31" name="Inhaltsplatzhalter 30">
            <a:extLst>
              <a:ext uri="{FF2B5EF4-FFF2-40B4-BE49-F238E27FC236}">
                <a16:creationId xmlns:a16="http://schemas.microsoft.com/office/drawing/2014/main" id="{8EBEC088-86F3-4EA5-9A77-4DB58B11192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61842" y="1470465"/>
            <a:ext cx="1615369" cy="232457"/>
          </a:xfrm>
        </p:spPr>
        <p:txBody>
          <a:bodyPr/>
          <a:lstStyle/>
          <a:p>
            <a:pPr algn="l" rtl="0"/>
            <a:r>
              <a:rPr lang="cs-CZ" b="1" i="0" u="none" baseline="0" dirty="0"/>
              <a:t>1995</a:t>
            </a:r>
          </a:p>
        </p:txBody>
      </p:sp>
      <p:sp>
        <p:nvSpPr>
          <p:cNvPr id="32" name="Inhaltsplatzhalter 31">
            <a:extLst>
              <a:ext uri="{FF2B5EF4-FFF2-40B4-BE49-F238E27FC236}">
                <a16:creationId xmlns:a16="http://schemas.microsoft.com/office/drawing/2014/main" id="{A6B3561B-837E-4EBE-8263-22CDE1FC3DB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7940132" y="1470465"/>
            <a:ext cx="1288884" cy="232457"/>
          </a:xfrm>
        </p:spPr>
        <p:txBody>
          <a:bodyPr/>
          <a:lstStyle/>
          <a:p>
            <a:pPr algn="l" rtl="0"/>
            <a:r>
              <a:rPr lang="cs-CZ" b="1" i="0" u="none" baseline="0"/>
              <a:t>2012</a:t>
            </a:r>
          </a:p>
        </p:txBody>
      </p:sp>
      <p:sp>
        <p:nvSpPr>
          <p:cNvPr id="35" name="Inhaltsplatzhalter 34">
            <a:extLst>
              <a:ext uri="{FF2B5EF4-FFF2-40B4-BE49-F238E27FC236}">
                <a16:creationId xmlns:a16="http://schemas.microsoft.com/office/drawing/2014/main" id="{67C4B2F9-7863-4948-8729-E5D72822C3F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734119" y="1474062"/>
            <a:ext cx="1288884" cy="232457"/>
          </a:xfrm>
        </p:spPr>
        <p:txBody>
          <a:bodyPr/>
          <a:lstStyle/>
          <a:p>
            <a:pPr algn="l" rtl="0"/>
            <a:r>
              <a:rPr lang="cs-CZ" b="1" i="0" u="none" baseline="0"/>
              <a:t>2021</a:t>
            </a:r>
          </a:p>
        </p:txBody>
      </p:sp>
      <p:sp>
        <p:nvSpPr>
          <p:cNvPr id="36" name="Inhaltsplatzhalter 35">
            <a:extLst>
              <a:ext uri="{FF2B5EF4-FFF2-40B4-BE49-F238E27FC236}">
                <a16:creationId xmlns:a16="http://schemas.microsoft.com/office/drawing/2014/main" id="{F522918F-9CB2-4ADD-A19F-5F28F21CD35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171662" y="4699913"/>
            <a:ext cx="1288884" cy="232457"/>
          </a:xfrm>
        </p:spPr>
        <p:txBody>
          <a:bodyPr/>
          <a:lstStyle/>
          <a:p>
            <a:pPr algn="l" rtl="0"/>
            <a:r>
              <a:rPr lang="cs-CZ" b="1" i="0" u="none" baseline="0"/>
              <a:t>2003</a:t>
            </a:r>
          </a:p>
        </p:txBody>
      </p:sp>
      <p:sp>
        <p:nvSpPr>
          <p:cNvPr id="37" name="Inhaltsplatzhalter 36">
            <a:extLst>
              <a:ext uri="{FF2B5EF4-FFF2-40B4-BE49-F238E27FC236}">
                <a16:creationId xmlns:a16="http://schemas.microsoft.com/office/drawing/2014/main" id="{F26B5115-94C5-43C7-8C7C-816FE6F7418B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499911" y="4699913"/>
            <a:ext cx="1288884" cy="232457"/>
          </a:xfrm>
        </p:spPr>
        <p:txBody>
          <a:bodyPr/>
          <a:lstStyle/>
          <a:p>
            <a:pPr algn="l" rtl="0"/>
            <a:r>
              <a:rPr lang="cs-CZ" b="1" i="0" u="none" baseline="0"/>
              <a:t>1994</a:t>
            </a:r>
          </a:p>
        </p:txBody>
      </p:sp>
      <p:sp>
        <p:nvSpPr>
          <p:cNvPr id="38" name="Inhaltsplatzhalter 37">
            <a:extLst>
              <a:ext uri="{FF2B5EF4-FFF2-40B4-BE49-F238E27FC236}">
                <a16:creationId xmlns:a16="http://schemas.microsoft.com/office/drawing/2014/main" id="{69ED2518-AA20-4031-89D9-830545D0E3B4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519070" y="4699913"/>
            <a:ext cx="1288884" cy="232457"/>
          </a:xfrm>
        </p:spPr>
        <p:txBody>
          <a:bodyPr/>
          <a:lstStyle/>
          <a:p>
            <a:pPr algn="l" rtl="0"/>
            <a:r>
              <a:rPr lang="cs-CZ" b="1" i="0" u="none" baseline="0"/>
              <a:t>1920</a:t>
            </a:r>
          </a:p>
        </p:txBody>
      </p:sp>
      <p:sp>
        <p:nvSpPr>
          <p:cNvPr id="39" name="Inhaltsplatzhalter 38">
            <a:extLst>
              <a:ext uri="{FF2B5EF4-FFF2-40B4-BE49-F238E27FC236}">
                <a16:creationId xmlns:a16="http://schemas.microsoft.com/office/drawing/2014/main" id="{58373BDE-E48A-40A6-A263-C24ABA8E3A7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075616" y="1470465"/>
            <a:ext cx="1288884" cy="232457"/>
          </a:xfrm>
        </p:spPr>
        <p:txBody>
          <a:bodyPr/>
          <a:lstStyle/>
          <a:p>
            <a:pPr algn="l" rtl="0"/>
            <a:r>
              <a:rPr lang="cs-CZ" b="1" i="0" u="none" baseline="0"/>
              <a:t>1989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494F8929-E546-40AA-8A6F-B0818ED421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cs-CZ" b="1" i="0" u="none" baseline="0" dirty="0"/>
              <a:t>Milníky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C975F25B-A497-4AA8-A7ED-85440094BBF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172398" y="4953347"/>
            <a:ext cx="1288884" cy="864000"/>
          </a:xfrm>
        </p:spPr>
        <p:txBody>
          <a:bodyPr/>
          <a:lstStyle/>
          <a:p>
            <a:pPr algn="l" rtl="0"/>
            <a:r>
              <a:rPr lang="cs-CZ" b="0" i="0" u="none" baseline="0"/>
              <a:t>Rozšíření centrály</a:t>
            </a:r>
          </a:p>
        </p:txBody>
      </p:sp>
      <p:sp>
        <p:nvSpPr>
          <p:cNvPr id="42" name="Inhaltsplatzhalter 41">
            <a:extLst>
              <a:ext uri="{FF2B5EF4-FFF2-40B4-BE49-F238E27FC236}">
                <a16:creationId xmlns:a16="http://schemas.microsoft.com/office/drawing/2014/main" id="{B2C038E8-A21A-44D1-B782-A9AD3153775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9172674" y="4712148"/>
            <a:ext cx="1288884" cy="232457"/>
          </a:xfrm>
        </p:spPr>
        <p:txBody>
          <a:bodyPr/>
          <a:lstStyle/>
          <a:p>
            <a:pPr algn="l" rtl="0"/>
            <a:r>
              <a:rPr lang="cs-CZ" b="1" i="0" u="none" baseline="0"/>
              <a:t>2016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1644E0A1-7935-4785-AEFE-08002FC91539}"/>
              </a:ext>
            </a:extLst>
          </p:cNvPr>
          <p:cNvGrpSpPr/>
          <p:nvPr/>
        </p:nvGrpSpPr>
        <p:grpSpPr>
          <a:xfrm rot="10800000">
            <a:off x="2065011" y="2629559"/>
            <a:ext cx="123825" cy="1026044"/>
            <a:chOff x="1457325" y="3532348"/>
            <a:chExt cx="123825" cy="1026044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E3308C51-3B36-4B8D-B1AA-AAB74E1F2951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422DAAB3-0EB8-48CD-A52E-3C7C5A29AE5D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1644E0A1-7935-4785-AEFE-08002FC91539}"/>
              </a:ext>
            </a:extLst>
          </p:cNvPr>
          <p:cNvGrpSpPr/>
          <p:nvPr/>
        </p:nvGrpSpPr>
        <p:grpSpPr>
          <a:xfrm>
            <a:off x="3494744" y="3537801"/>
            <a:ext cx="123825" cy="1026044"/>
            <a:chOff x="1457325" y="3532348"/>
            <a:chExt cx="123825" cy="1026044"/>
          </a:xfrm>
        </p:grpSpPr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E3308C51-3B36-4B8D-B1AA-AAB74E1F2951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422DAAB3-0EB8-48CD-A52E-3C7C5A29AE5D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1644E0A1-7935-4785-AEFE-08002FC91539}"/>
              </a:ext>
            </a:extLst>
          </p:cNvPr>
          <p:cNvGrpSpPr/>
          <p:nvPr/>
        </p:nvGrpSpPr>
        <p:grpSpPr>
          <a:xfrm>
            <a:off x="9178463" y="3550036"/>
            <a:ext cx="123825" cy="1026044"/>
            <a:chOff x="1457325" y="3532348"/>
            <a:chExt cx="123825" cy="1026044"/>
          </a:xfrm>
        </p:grpSpPr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E3308C51-3B36-4B8D-B1AA-AAB74E1F2951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422DAAB3-0EB8-48CD-A52E-3C7C5A29AE5D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1644E0A1-7935-4785-AEFE-08002FC91539}"/>
              </a:ext>
            </a:extLst>
          </p:cNvPr>
          <p:cNvGrpSpPr/>
          <p:nvPr/>
        </p:nvGrpSpPr>
        <p:grpSpPr>
          <a:xfrm>
            <a:off x="1519070" y="3537801"/>
            <a:ext cx="123825" cy="1026044"/>
            <a:chOff x="1457325" y="3532348"/>
            <a:chExt cx="123825" cy="1026044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E3308C51-3B36-4B8D-B1AA-AAB74E1F2951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422DAAB3-0EB8-48CD-A52E-3C7C5A29AE5D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9FFE466D-D0F7-417D-8AFC-434F6FFA3E5F}"/>
              </a:ext>
            </a:extLst>
          </p:cNvPr>
          <p:cNvGrpSpPr/>
          <p:nvPr/>
        </p:nvGrpSpPr>
        <p:grpSpPr>
          <a:xfrm rot="10800000">
            <a:off x="4261842" y="2629559"/>
            <a:ext cx="155191" cy="1026044"/>
            <a:chOff x="1457325" y="3532348"/>
            <a:chExt cx="123825" cy="1026044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AE3E1E45-E157-49E6-A08B-12A5729C6623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B98DE6BA-8360-432D-9493-A577175FB4D2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C53317EA-B849-429B-B566-4F73186322FA}"/>
              </a:ext>
            </a:extLst>
          </p:cNvPr>
          <p:cNvGrpSpPr/>
          <p:nvPr/>
        </p:nvGrpSpPr>
        <p:grpSpPr>
          <a:xfrm rot="10800000">
            <a:off x="7940132" y="2629560"/>
            <a:ext cx="123825" cy="1026044"/>
            <a:chOff x="1457325" y="3532348"/>
            <a:chExt cx="123825" cy="1026044"/>
          </a:xfrm>
        </p:grpSpPr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2324D070-0C3A-4A34-ACDF-A233E4F1F492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75E2AB17-357A-4BCE-847D-3DDA6A828ECD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4274E8BC-A387-41F9-87C0-9CE5338175DF}"/>
              </a:ext>
            </a:extLst>
          </p:cNvPr>
          <p:cNvGrpSpPr/>
          <p:nvPr/>
        </p:nvGrpSpPr>
        <p:grpSpPr>
          <a:xfrm rot="10800000">
            <a:off x="9734119" y="2635582"/>
            <a:ext cx="123825" cy="1026044"/>
            <a:chOff x="1457325" y="3532348"/>
            <a:chExt cx="123825" cy="1026044"/>
          </a:xfrm>
        </p:grpSpPr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833C068D-3951-4251-A4A3-47D273C8C970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BFD18096-7658-4131-89BF-B128FB0AA0FE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79" name="Inhaltsplatzhalter 36">
            <a:extLst>
              <a:ext uri="{FF2B5EF4-FFF2-40B4-BE49-F238E27FC236}">
                <a16:creationId xmlns:a16="http://schemas.microsoft.com/office/drawing/2014/main" id="{C5C983EA-456F-4C70-B92B-33EAED849E84}"/>
              </a:ext>
            </a:extLst>
          </p:cNvPr>
          <p:cNvSpPr txBox="1">
            <a:spLocks/>
          </p:cNvSpPr>
          <p:nvPr/>
        </p:nvSpPr>
        <p:spPr>
          <a:xfrm>
            <a:off x="5419307" y="4730434"/>
            <a:ext cx="1288884" cy="232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None/>
              <a:defRPr lang="en-gb" sz="1200" b="1" i="0" kern="120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cs-CZ" b="1" i="0" u="none" baseline="0"/>
              <a:t>1998</a:t>
            </a:r>
          </a:p>
        </p:txBody>
      </p:sp>
      <p:sp>
        <p:nvSpPr>
          <p:cNvPr id="83" name="Textplatzhalter 22">
            <a:extLst>
              <a:ext uri="{FF2B5EF4-FFF2-40B4-BE49-F238E27FC236}">
                <a16:creationId xmlns:a16="http://schemas.microsoft.com/office/drawing/2014/main" id="{5F23D99C-7449-491D-AAB2-FAAE1A3DFC9A}"/>
              </a:ext>
            </a:extLst>
          </p:cNvPr>
          <p:cNvSpPr txBox="1">
            <a:spLocks/>
          </p:cNvSpPr>
          <p:nvPr/>
        </p:nvSpPr>
        <p:spPr>
          <a:xfrm>
            <a:off x="6200489" y="1727870"/>
            <a:ext cx="1288884" cy="8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None/>
              <a:defRPr lang="en-gb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cs-CZ" b="0" i="0" u="none" baseline="0" dirty="0" err="1"/>
              <a:t>Schrack</a:t>
            </a:r>
            <a:r>
              <a:rPr lang="cs-CZ" b="0" i="0" u="none" baseline="0" dirty="0"/>
              <a:t> </a:t>
            </a:r>
            <a:r>
              <a:rPr lang="cs-CZ" b="0" i="0" u="none" baseline="0" dirty="0" err="1"/>
              <a:t>Seconet</a:t>
            </a:r>
            <a:r>
              <a:rPr lang="cs-CZ" b="0" i="0" u="none" baseline="0" dirty="0"/>
              <a:t> Maďarsko</a:t>
            </a:r>
          </a:p>
          <a:p>
            <a:endParaRPr lang="en-gb" dirty="0"/>
          </a:p>
        </p:txBody>
      </p:sp>
      <p:sp>
        <p:nvSpPr>
          <p:cNvPr id="84" name="Inhaltsplatzhalter 31">
            <a:extLst>
              <a:ext uri="{FF2B5EF4-FFF2-40B4-BE49-F238E27FC236}">
                <a16:creationId xmlns:a16="http://schemas.microsoft.com/office/drawing/2014/main" id="{9781998B-B9BA-4F96-8C96-21748795B64E}"/>
              </a:ext>
            </a:extLst>
          </p:cNvPr>
          <p:cNvSpPr txBox="1">
            <a:spLocks/>
          </p:cNvSpPr>
          <p:nvPr/>
        </p:nvSpPr>
        <p:spPr>
          <a:xfrm>
            <a:off x="6200489" y="1468671"/>
            <a:ext cx="1288884" cy="232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None/>
              <a:defRPr lang="en-gb" sz="1200" b="1" i="0" kern="120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cs-CZ" b="1" i="0" u="none" baseline="0"/>
              <a:t>2001</a:t>
            </a:r>
          </a:p>
        </p:txBody>
      </p: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65E9A35F-5E3D-4815-8541-410DB0407580}"/>
              </a:ext>
            </a:extLst>
          </p:cNvPr>
          <p:cNvGrpSpPr/>
          <p:nvPr/>
        </p:nvGrpSpPr>
        <p:grpSpPr>
          <a:xfrm rot="10800000">
            <a:off x="6163934" y="2647817"/>
            <a:ext cx="123825" cy="1026044"/>
            <a:chOff x="1457325" y="3532348"/>
            <a:chExt cx="123825" cy="1026044"/>
          </a:xfrm>
        </p:grpSpPr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05A9F9FB-10E7-471E-A145-7F3C73088F92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87" name="Gerader Verbinder 86">
              <a:extLst>
                <a:ext uri="{FF2B5EF4-FFF2-40B4-BE49-F238E27FC236}">
                  <a16:creationId xmlns:a16="http://schemas.microsoft.com/office/drawing/2014/main" id="{5A7E96B3-9949-42FB-8F56-30F1E463477A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BC97B7D3-A9D5-4FC4-B667-0ED5FF83E39F}"/>
              </a:ext>
            </a:extLst>
          </p:cNvPr>
          <p:cNvGrpSpPr/>
          <p:nvPr/>
        </p:nvGrpSpPr>
        <p:grpSpPr>
          <a:xfrm>
            <a:off x="7171701" y="3550500"/>
            <a:ext cx="123825" cy="1026044"/>
            <a:chOff x="1457325" y="3532348"/>
            <a:chExt cx="123825" cy="1026044"/>
          </a:xfrm>
        </p:grpSpPr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D7234F0D-F964-4528-A50C-BBF95C35A85F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90" name="Gerader Verbinder 89">
              <a:extLst>
                <a:ext uri="{FF2B5EF4-FFF2-40B4-BE49-F238E27FC236}">
                  <a16:creationId xmlns:a16="http://schemas.microsoft.com/office/drawing/2014/main" id="{17D0480B-071E-415B-98E3-444C26284A9E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3A3E5392-97AB-437F-97D4-A30B66003367}"/>
              </a:ext>
            </a:extLst>
          </p:cNvPr>
          <p:cNvGrpSpPr/>
          <p:nvPr/>
        </p:nvGrpSpPr>
        <p:grpSpPr>
          <a:xfrm>
            <a:off x="5424913" y="3553899"/>
            <a:ext cx="123825" cy="1026044"/>
            <a:chOff x="1457325" y="3532348"/>
            <a:chExt cx="123825" cy="1026044"/>
          </a:xfrm>
        </p:grpSpPr>
        <p:sp>
          <p:nvSpPr>
            <p:cNvPr id="92" name="Ellipse 91">
              <a:extLst>
                <a:ext uri="{FF2B5EF4-FFF2-40B4-BE49-F238E27FC236}">
                  <a16:creationId xmlns:a16="http://schemas.microsoft.com/office/drawing/2014/main" id="{A8A839D1-4120-4F24-8D39-9B59362A4717}"/>
                </a:ext>
              </a:extLst>
            </p:cNvPr>
            <p:cNvSpPr/>
            <p:nvPr/>
          </p:nvSpPr>
          <p:spPr>
            <a:xfrm>
              <a:off x="1457325" y="3532348"/>
              <a:ext cx="123825" cy="123825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gb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buClr>
                  <a:srgbClr val="14285C"/>
                </a:buClr>
              </a:pPr>
              <a:endParaRPr lang="en-gb" b="1" dirty="0"/>
            </a:p>
          </p:txBody>
        </p:sp>
        <p:cxnSp>
          <p:nvCxnSpPr>
            <p:cNvPr id="93" name="Gerader Verbinder 92">
              <a:extLst>
                <a:ext uri="{FF2B5EF4-FFF2-40B4-BE49-F238E27FC236}">
                  <a16:creationId xmlns:a16="http://schemas.microsoft.com/office/drawing/2014/main" id="{48D2ABD1-7078-4118-A53F-B96E71BAF0D3}"/>
                </a:ext>
              </a:extLst>
            </p:cNvPr>
            <p:cNvCxnSpPr>
              <a:cxnSpLocks/>
            </p:cNvCxnSpPr>
            <p:nvPr/>
          </p:nvCxnSpPr>
          <p:spPr>
            <a:xfrm>
              <a:off x="1519238" y="3658893"/>
              <a:ext cx="0" cy="899499"/>
            </a:xfrm>
            <a:prstGeom prst="line">
              <a:avLst/>
            </a:prstGeom>
            <a:ln w="38100">
              <a:tailEnd type="oval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2FFBE20-7CC5-460E-8BDC-F89F9797A6F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D789E0D2-C837-8B4F-86AA-2C445A0692A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Textplatzhalter 22">
            <a:extLst>
              <a:ext uri="{FF2B5EF4-FFF2-40B4-BE49-F238E27FC236}">
                <a16:creationId xmlns:a16="http://schemas.microsoft.com/office/drawing/2014/main" id="{ADA42D9A-F370-D414-CD2E-7EE34C940C24}"/>
              </a:ext>
            </a:extLst>
          </p:cNvPr>
          <p:cNvSpPr txBox="1">
            <a:spLocks/>
          </p:cNvSpPr>
          <p:nvPr/>
        </p:nvSpPr>
        <p:spPr>
          <a:xfrm>
            <a:off x="4261491" y="1705641"/>
            <a:ext cx="1288884" cy="86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None/>
              <a:defRPr lang="en-gb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Univers" panose="020B0503020202020204" pitchFamily="34" charset="0"/>
              <a:buChar char="•"/>
              <a:defRPr lang="en-gb" sz="11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Univers" panose="020B0503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cs-CZ" b="0" i="0" u="none" baseline="0" dirty="0" err="1"/>
              <a:t>Schrack</a:t>
            </a:r>
            <a:r>
              <a:rPr lang="cs-CZ" b="0" i="0" u="none" baseline="0" dirty="0"/>
              <a:t> </a:t>
            </a:r>
            <a:r>
              <a:rPr lang="cs-CZ" b="0" i="0" u="none" baseline="0" dirty="0" err="1"/>
              <a:t>Seconet</a:t>
            </a:r>
            <a:r>
              <a:rPr lang="cs-CZ" b="0" i="0" u="none" baseline="0" dirty="0"/>
              <a:t> Česká Republika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592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EDFB1DD-03A1-4E74-8510-646A516B65B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rtl="0"/>
            <a:r>
              <a:rPr lang="de-DE" b="1" i="0" u="none" baseline="0" dirty="0"/>
              <a:t>752</a:t>
            </a:r>
            <a:endParaRPr lang="cs-CZ" b="1" i="0" u="none" baseline="0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EADE6BB-2D7F-419B-AB07-FBE2BBA86BC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rtl="0"/>
            <a:r>
              <a:rPr lang="cs-CZ" b="1" i="0" u="none" baseline="0"/>
              <a:t>zaměstnanců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6F25444-B0D9-447C-9FA3-8E04753D6E1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pPr rtl="0"/>
            <a:r>
              <a:rPr lang="cs-CZ" b="0" i="0" u="none" baseline="0" dirty="0"/>
              <a:t>celosvětově</a:t>
            </a:r>
            <a:br>
              <a:rPr lang="cs-CZ" b="0" i="0" u="none" baseline="0" dirty="0"/>
            </a:br>
            <a:r>
              <a:rPr lang="cs-CZ" dirty="0"/>
              <a:t>51</a:t>
            </a:r>
            <a:r>
              <a:rPr lang="de-DE" dirty="0"/>
              <a:t>9</a:t>
            </a:r>
            <a:r>
              <a:rPr lang="cs-CZ" dirty="0"/>
              <a:t> zaměstnanců</a:t>
            </a:r>
            <a:br>
              <a:rPr lang="cs-CZ" dirty="0"/>
            </a:br>
            <a:r>
              <a:rPr lang="cs-CZ" dirty="0"/>
              <a:t>v Rakousku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ACB302D-13B4-493B-98FF-E52A02C1667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pPr rtl="0"/>
            <a:r>
              <a:rPr lang="cs-CZ" b="0" i="0" u="none" baseline="0" dirty="0"/>
              <a:t>5</a:t>
            </a:r>
            <a:r>
              <a:rPr lang="de-DE" b="0" i="0" u="none" baseline="0" dirty="0"/>
              <a:t>8</a:t>
            </a:r>
            <a:endParaRPr lang="cs-CZ" b="0" i="0" u="none" baseline="0" dirty="0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C1DD69D-DCC8-4834-BBF0-0DF0D1EBDCB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pPr rtl="0"/>
            <a:r>
              <a:rPr lang="cs-CZ" b="1" i="0" u="none" baseline="0"/>
              <a:t>procent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511476F-D74A-4306-B9F5-F79483DAFB45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pPr rtl="0"/>
            <a:r>
              <a:rPr lang="cs-CZ" b="0" i="0" u="none" baseline="0" dirty="0"/>
              <a:t>podíl exportu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528D66CB-DA4B-4ABC-B809-222DCAAA809A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pPr rtl="0"/>
            <a:r>
              <a:rPr lang="de-DE" b="1" i="0" u="none" baseline="0" dirty="0"/>
              <a:t>165</a:t>
            </a:r>
            <a:endParaRPr lang="cs-CZ" b="1" i="0" u="none" baseline="0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92B38ADF-B663-4985-9E56-60EAFF85B816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pPr rtl="0"/>
            <a:r>
              <a:rPr lang="cs-CZ" b="1" i="0" u="none" baseline="0"/>
              <a:t>milionů euro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BDA2737F-E084-4D8A-867F-B115739BA8F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pPr rtl="0"/>
            <a:r>
              <a:rPr lang="cs-CZ" b="0" i="0" u="none" baseline="0"/>
              <a:t>konsolidovaný obrat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71FDA6FB-4B1F-4B82-A93E-25B70B4DF54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pPr rtl="0"/>
            <a:r>
              <a:rPr lang="de-DE" b="1" i="0" u="none" baseline="0" dirty="0"/>
              <a:t>9,7</a:t>
            </a:r>
            <a:endParaRPr lang="cs-CZ" b="1" i="0" u="none" baseline="0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77898DBA-D827-4589-AFEB-46CC688EA05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pPr rtl="0"/>
            <a:r>
              <a:rPr lang="cs-CZ"/>
              <a:t>m</a:t>
            </a:r>
            <a:r>
              <a:rPr lang="cs-CZ" b="1" i="0" u="none" baseline="0"/>
              <a:t>ilionů euro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B0E3DB19-DEEC-49CD-8EAA-F2BA6CF8EDF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pPr rtl="0"/>
            <a:r>
              <a:rPr lang="cs-CZ"/>
              <a:t>investováno do vlastního </a:t>
            </a:r>
            <a:r>
              <a:rPr lang="cs-CZ" b="0" i="0" u="none" baseline="0"/>
              <a:t>výzkumu a vývoje</a:t>
            </a:r>
          </a:p>
        </p:txBody>
      </p:sp>
      <p:pic>
        <p:nvPicPr>
          <p:cNvPr id="36" name="Bildplatzhalter 35">
            <a:extLst>
              <a:ext uri="{FF2B5EF4-FFF2-40B4-BE49-F238E27FC236}">
                <a16:creationId xmlns:a16="http://schemas.microsoft.com/office/drawing/2014/main" id="{7581B97A-94DD-4F95-A342-BA8384D9F139}"/>
              </a:ext>
            </a:extLst>
          </p:cNvPr>
          <p:cNvPicPr>
            <a:picLocks noGrp="1" noChangeAspect="1"/>
          </p:cNvPicPr>
          <p:nvPr>
            <p:ph type="pic" sz="quarter" idx="5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8" name="Bildplatzhalter 37">
            <a:extLst>
              <a:ext uri="{FF2B5EF4-FFF2-40B4-BE49-F238E27FC236}">
                <a16:creationId xmlns:a16="http://schemas.microsoft.com/office/drawing/2014/main" id="{7DB71433-7992-46DC-8E6F-E7D70F8308F8}"/>
              </a:ext>
            </a:extLst>
          </p:cNvPr>
          <p:cNvPicPr>
            <a:picLocks noGrp="1" noChangeAspect="1"/>
          </p:cNvPicPr>
          <p:nvPr>
            <p:ph type="pic" sz="quarter" idx="5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40" name="Bildplatzhalter 39">
            <a:extLst>
              <a:ext uri="{FF2B5EF4-FFF2-40B4-BE49-F238E27FC236}">
                <a16:creationId xmlns:a16="http://schemas.microsoft.com/office/drawing/2014/main" id="{1F4BD449-C208-46B8-A2BB-8E45133F2DAE}"/>
              </a:ext>
            </a:extLst>
          </p:cNvPr>
          <p:cNvPicPr>
            <a:picLocks noGrp="1" noChangeAspect="1"/>
          </p:cNvPicPr>
          <p:nvPr>
            <p:ph type="pic" sz="quarter" idx="58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42" name="Bildplatzhalter 41">
            <a:extLst>
              <a:ext uri="{FF2B5EF4-FFF2-40B4-BE49-F238E27FC236}">
                <a16:creationId xmlns:a16="http://schemas.microsoft.com/office/drawing/2014/main" id="{82807C7E-99C5-419C-9DF2-A4B254D070C4}"/>
              </a:ext>
            </a:extLst>
          </p:cNvPr>
          <p:cNvPicPr>
            <a:picLocks noGrp="1" noChangeAspect="1"/>
          </p:cNvPicPr>
          <p:nvPr>
            <p:ph type="pic" sz="quarter" idx="59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8" name="Titel 17">
            <a:extLst>
              <a:ext uri="{FF2B5EF4-FFF2-40B4-BE49-F238E27FC236}">
                <a16:creationId xmlns:a16="http://schemas.microsoft.com/office/drawing/2014/main" id="{7B8EF370-6798-4747-8D4C-5FA385E3D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cs-CZ" b="1" i="0" u="none" baseline="0" dirty="0">
                <a:latin typeface="Univers" panose="020B0503020202020204" pitchFamily="34" charset="0"/>
              </a:rPr>
              <a:t>Naše společnost v číslech | 202</a:t>
            </a:r>
            <a:r>
              <a:rPr lang="de-DE" dirty="0">
                <a:latin typeface="Univers" panose="020B0503020202020204" pitchFamily="34" charset="0"/>
              </a:rPr>
              <a:t>4</a:t>
            </a:r>
            <a:endParaRPr lang="cs-CZ" b="1" i="0" u="none" baseline="0" dirty="0">
              <a:latin typeface="Univers" panose="020B0503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551C293-C706-4C12-916F-AFF05ECEBC37}"/>
              </a:ext>
            </a:extLst>
          </p:cNvPr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D789E0D2-C837-8B4F-86AA-2C445A0692A5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26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/>
      <p:bldP spid="20" grpId="0" build="p"/>
      <p:bldP spid="21" grpId="0" build="p"/>
      <p:bldP spid="22" grpId="0" build="p"/>
      <p:bldP spid="23" grpId="0" build="p"/>
      <p:bldP spid="24" grpId="0" build="p"/>
      <p:bldP spid="25" grpId="0" build="p"/>
      <p:bldP spid="26" grpId="0" build="p"/>
      <p:bldP spid="27" grpId="0" build="p"/>
      <p:bldP spid="28" grpId="0" build="p"/>
      <p:bldP spid="29" grpId="0" build="p"/>
      <p:bldP spid="30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8F4FB68-5F7D-4D97-A4CB-6A1A8BC1E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cs-CZ" b="1" i="0" u="none" baseline="0" dirty="0"/>
              <a:t>Kompetenční centra </a:t>
            </a:r>
            <a:r>
              <a:rPr lang="en-gb" b="1" i="0" u="none" baseline="0" dirty="0"/>
              <a:t>– Securitas Group Switzerland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58F157-F0D6-4688-A991-EEC2CA5209FF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89E0D2-C837-8B4F-86AA-2C445A0692A5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4" name="Kosoúhelník 23">
            <a:extLst>
              <a:ext uri="{FF2B5EF4-FFF2-40B4-BE49-F238E27FC236}">
                <a16:creationId xmlns:a16="http://schemas.microsoft.com/office/drawing/2014/main" id="{F3ABFD82-13B9-66E8-13D1-15746A15A71C}"/>
              </a:ext>
            </a:extLst>
          </p:cNvPr>
          <p:cNvSpPr/>
          <p:nvPr/>
        </p:nvSpPr>
        <p:spPr>
          <a:xfrm>
            <a:off x="847725" y="1530034"/>
            <a:ext cx="3666654" cy="4418093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Kosoúhelník 24">
            <a:extLst>
              <a:ext uri="{FF2B5EF4-FFF2-40B4-BE49-F238E27FC236}">
                <a16:creationId xmlns:a16="http://schemas.microsoft.com/office/drawing/2014/main" id="{AA808F02-D8A0-E2D2-15E7-270C780107FC}"/>
              </a:ext>
            </a:extLst>
          </p:cNvPr>
          <p:cNvSpPr/>
          <p:nvPr/>
        </p:nvSpPr>
        <p:spPr>
          <a:xfrm>
            <a:off x="4262673" y="1530033"/>
            <a:ext cx="3666654" cy="4418093"/>
          </a:xfrm>
          <a:prstGeom prst="parallelogram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6" name="Kosoúhelník 25">
            <a:extLst>
              <a:ext uri="{FF2B5EF4-FFF2-40B4-BE49-F238E27FC236}">
                <a16:creationId xmlns:a16="http://schemas.microsoft.com/office/drawing/2014/main" id="{14B7C197-326F-E98D-75C3-859DE6F7725B}"/>
              </a:ext>
            </a:extLst>
          </p:cNvPr>
          <p:cNvSpPr/>
          <p:nvPr/>
        </p:nvSpPr>
        <p:spPr>
          <a:xfrm>
            <a:off x="7677621" y="1530032"/>
            <a:ext cx="3666654" cy="4418093"/>
          </a:xfrm>
          <a:prstGeom prst="parallelogram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7" name="Bildplatzhalter 11" descr="Ein Bild, das draußen, Himmel, Straße, Gebäude enthält.&#10;&#10;Automatisch generierte Beschreibung">
            <a:extLst>
              <a:ext uri="{FF2B5EF4-FFF2-40B4-BE49-F238E27FC236}">
                <a16:creationId xmlns:a16="http://schemas.microsoft.com/office/drawing/2014/main" id="{C91E3DAF-A436-6407-437F-74EB5D7B92A5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9" r="-249" b="10574"/>
          <a:stretch/>
        </p:blipFill>
        <p:spPr>
          <a:xfrm>
            <a:off x="1320209" y="1530033"/>
            <a:ext cx="3151779" cy="2216715"/>
          </a:xfrm>
          <a:prstGeom prst="parallelogram">
            <a:avLst>
              <a:gd name="adj" fmla="val 20080"/>
            </a:avLst>
          </a:prstGeom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EC685D2E-9F3A-7952-AB48-DD3B76BBAE2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600"/>
          <a:stretch/>
        </p:blipFill>
        <p:spPr>
          <a:xfrm>
            <a:off x="4735157" y="1530031"/>
            <a:ext cx="3194169" cy="2216717"/>
          </a:xfrm>
          <a:prstGeom prst="parallelogram">
            <a:avLst>
              <a:gd name="adj" fmla="val 20916"/>
            </a:avLst>
          </a:prstGeom>
        </p:spPr>
      </p:pic>
      <p:pic>
        <p:nvPicPr>
          <p:cNvPr id="29" name="Bildplatzhalter 22">
            <a:extLst>
              <a:ext uri="{FF2B5EF4-FFF2-40B4-BE49-F238E27FC236}">
                <a16:creationId xmlns:a16="http://schemas.microsoft.com/office/drawing/2014/main" id="{EBA8378C-BEB7-1596-A2AF-B4EE047AEE9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5" r="1015" b="8687"/>
          <a:stretch/>
        </p:blipFill>
        <p:spPr>
          <a:xfrm>
            <a:off x="8140106" y="1522363"/>
            <a:ext cx="3209392" cy="2216715"/>
          </a:xfrm>
          <a:prstGeom prst="parallelogram">
            <a:avLst>
              <a:gd name="adj" fmla="val 20910"/>
            </a:avLst>
          </a:prstGeom>
          <a:ln>
            <a:noFill/>
          </a:ln>
        </p:spPr>
      </p:pic>
      <p:sp>
        <p:nvSpPr>
          <p:cNvPr id="33" name="TextovéPole 32">
            <a:extLst>
              <a:ext uri="{FF2B5EF4-FFF2-40B4-BE49-F238E27FC236}">
                <a16:creationId xmlns:a16="http://schemas.microsoft.com/office/drawing/2014/main" id="{F5C74C74-F0E6-AF13-2053-D8CD470FE113}"/>
              </a:ext>
            </a:extLst>
          </p:cNvPr>
          <p:cNvSpPr txBox="1"/>
          <p:nvPr/>
        </p:nvSpPr>
        <p:spPr>
          <a:xfrm>
            <a:off x="1320209" y="3857706"/>
            <a:ext cx="263945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gb" sz="2000" b="1" i="0" u="none" baseline="0" dirty="0" err="1">
                <a:solidFill>
                  <a:schemeClr val="bg1"/>
                </a:solidFill>
                <a:latin typeface="+mj-lt"/>
              </a:rPr>
              <a:t>Schra</a:t>
            </a:r>
            <a:r>
              <a:rPr lang="cs-CZ" sz="2000" b="1" i="0" u="none" baseline="0" dirty="0">
                <a:solidFill>
                  <a:schemeClr val="bg1"/>
                </a:solidFill>
                <a:latin typeface="+mj-lt"/>
              </a:rPr>
              <a:t>c</a:t>
            </a:r>
            <a:r>
              <a:rPr lang="en-gb" sz="2000" b="1" i="0" u="none" baseline="0" dirty="0">
                <a:solidFill>
                  <a:schemeClr val="bg1"/>
                </a:solidFill>
                <a:latin typeface="+mj-lt"/>
              </a:rPr>
              <a:t>k Seconet AG</a:t>
            </a:r>
            <a:endParaRPr lang="cs-CZ" sz="2000" b="1" i="0" u="none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A531352F-2886-7512-4B31-1A3EAD296BBE}"/>
              </a:ext>
            </a:extLst>
          </p:cNvPr>
          <p:cNvSpPr txBox="1"/>
          <p:nvPr/>
        </p:nvSpPr>
        <p:spPr>
          <a:xfrm>
            <a:off x="1399139" y="4494145"/>
            <a:ext cx="231212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cs-CZ" sz="1800" dirty="0">
                <a:solidFill>
                  <a:schemeClr val="bg1"/>
                </a:solidFill>
                <a:latin typeface="Univers Light" panose="020B0403020202020204" pitchFamily="34" charset="0"/>
              </a:rPr>
              <a:t>Systémy elektrické </a:t>
            </a:r>
          </a:p>
          <a:p>
            <a:pPr rtl="0"/>
            <a:r>
              <a:rPr lang="cs-CZ" sz="1800" dirty="0">
                <a:solidFill>
                  <a:schemeClr val="bg1"/>
                </a:solidFill>
                <a:latin typeface="Univers Light" panose="020B0403020202020204" pitchFamily="34" charset="0"/>
              </a:rPr>
              <a:t>požární signalizace</a:t>
            </a:r>
            <a:endParaRPr lang="en-gb" sz="1800" i="0" u="none" baseline="0" dirty="0">
              <a:solidFill>
                <a:schemeClr val="bg1"/>
              </a:solidFill>
              <a:latin typeface="Univers Light" panose="020B0403020202020204" pitchFamily="34" charset="0"/>
            </a:endParaRP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543D5CF6-D102-B528-F5E6-479576727944}"/>
              </a:ext>
            </a:extLst>
          </p:cNvPr>
          <p:cNvSpPr txBox="1"/>
          <p:nvPr/>
        </p:nvSpPr>
        <p:spPr>
          <a:xfrm>
            <a:off x="1100323" y="5243799"/>
            <a:ext cx="25301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</a:pPr>
            <a:r>
              <a:rPr lang="cs-CZ" sz="1800" i="0" u="none" baseline="0" dirty="0">
                <a:solidFill>
                  <a:schemeClr val="bg1"/>
                </a:solidFill>
                <a:latin typeface="Univers Light" panose="020B0403020202020204" pitchFamily="34" charset="0"/>
              </a:rPr>
              <a:t>Komunikační systémy</a:t>
            </a:r>
            <a:endParaRPr lang="en-gb" sz="1800" i="0" u="none" baseline="0" dirty="0">
              <a:solidFill>
                <a:schemeClr val="bg1"/>
              </a:solidFill>
              <a:latin typeface="Univers Light" panose="020B0403020202020204" pitchFamily="34" charset="0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013BB49E-02F6-DAA2-895A-C5C1CA535033}"/>
              </a:ext>
            </a:extLst>
          </p:cNvPr>
          <p:cNvSpPr txBox="1"/>
          <p:nvPr/>
        </p:nvSpPr>
        <p:spPr>
          <a:xfrm>
            <a:off x="4852929" y="3855267"/>
            <a:ext cx="239317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gb" sz="2000" b="1" i="0" u="none" baseline="0" dirty="0" err="1">
                <a:solidFill>
                  <a:schemeClr val="bg1"/>
                </a:solidFill>
                <a:latin typeface="+mj-lt"/>
              </a:rPr>
              <a:t>Hekatron</a:t>
            </a:r>
            <a:r>
              <a:rPr lang="en-gb" sz="2000" b="1" i="0" u="none" baseline="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gb" sz="2000" b="1" i="0" u="none" baseline="0" dirty="0" err="1">
                <a:solidFill>
                  <a:schemeClr val="bg1"/>
                </a:solidFill>
                <a:latin typeface="+mj-lt"/>
              </a:rPr>
              <a:t>Vertriebs</a:t>
            </a:r>
            <a:r>
              <a:rPr lang="en-gb" sz="2000" b="1" i="0" u="none" baseline="0" dirty="0">
                <a:solidFill>
                  <a:schemeClr val="bg1"/>
                </a:solidFill>
                <a:latin typeface="+mj-lt"/>
              </a:rPr>
              <a:t> </a:t>
            </a:r>
            <a:endParaRPr lang="cs-CZ" sz="2000" b="1" i="0" u="none" baseline="0" dirty="0">
              <a:solidFill>
                <a:schemeClr val="bg1"/>
              </a:solidFill>
              <a:latin typeface="+mj-lt"/>
            </a:endParaRPr>
          </a:p>
          <a:p>
            <a:pPr algn="ctr" rtl="0"/>
            <a:r>
              <a:rPr lang="en-gb" sz="2000" b="1" i="0" u="none" baseline="0" dirty="0">
                <a:solidFill>
                  <a:schemeClr val="bg1"/>
                </a:solidFill>
                <a:latin typeface="+mj-lt"/>
              </a:rPr>
              <a:t>GmbH</a:t>
            </a:r>
            <a:endParaRPr lang="cs-CZ" sz="2000" b="1" i="0" u="none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F20644F4-A8C9-1F48-F4AA-B089CD3508F7}"/>
              </a:ext>
            </a:extLst>
          </p:cNvPr>
          <p:cNvSpPr txBox="1"/>
          <p:nvPr/>
        </p:nvSpPr>
        <p:spPr>
          <a:xfrm>
            <a:off x="4888982" y="4472073"/>
            <a:ext cx="20664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73125" rtl="0" eaLnBrk="0" hangingPunct="0">
              <a:spcBef>
                <a:spcPts val="0"/>
              </a:spcBef>
            </a:pPr>
            <a:r>
              <a:rPr lang="cs-CZ" sz="1800" b="0" i="0" u="none" baseline="0" dirty="0">
                <a:solidFill>
                  <a:schemeClr val="bg1"/>
                </a:solidFill>
                <a:latin typeface="Univers Light" panose="020B0403020202020204" pitchFamily="34" charset="0"/>
              </a:rPr>
              <a:t>Požární detektory</a:t>
            </a:r>
          </a:p>
        </p:txBody>
      </p: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F0FD33E9-447F-43EC-BF42-BD5491AC9F93}"/>
              </a:ext>
            </a:extLst>
          </p:cNvPr>
          <p:cNvSpPr txBox="1"/>
          <p:nvPr/>
        </p:nvSpPr>
        <p:spPr>
          <a:xfrm>
            <a:off x="4774283" y="4841405"/>
            <a:ext cx="60975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73125" rtl="0" eaLnBrk="0" hangingPunct="0">
              <a:spcBef>
                <a:spcPts val="0"/>
              </a:spcBef>
            </a:pPr>
            <a:r>
              <a:rPr lang="cs-CZ" sz="1800" b="0" i="0" u="none" baseline="0" dirty="0">
                <a:solidFill>
                  <a:schemeClr val="bg1"/>
                </a:solidFill>
                <a:latin typeface="Univers Light" panose="020B0403020202020204" pitchFamily="34" charset="0"/>
              </a:rPr>
              <a:t>Komponenty EPS</a:t>
            </a:r>
          </a:p>
        </p:txBody>
      </p: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05477D65-CA6A-640C-AA0D-FC35F58E3E0A}"/>
              </a:ext>
            </a:extLst>
          </p:cNvPr>
          <p:cNvSpPr txBox="1"/>
          <p:nvPr/>
        </p:nvSpPr>
        <p:spPr>
          <a:xfrm>
            <a:off x="4363942" y="5243799"/>
            <a:ext cx="60975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73125" rtl="0" eaLnBrk="0" hangingPunct="0">
              <a:spcBef>
                <a:spcPts val="0"/>
              </a:spcBef>
            </a:pPr>
            <a:r>
              <a:rPr lang="cs-CZ" sz="1800" b="0" i="0" u="none" baseline="0" dirty="0">
                <a:solidFill>
                  <a:schemeClr val="bg1"/>
                </a:solidFill>
                <a:latin typeface="Univers Light" panose="020B0403020202020204" pitchFamily="34" charset="0"/>
              </a:rPr>
              <a:t>Domácí požární detektory</a:t>
            </a:r>
            <a:endParaRPr lang="en-gb" sz="1800" b="0" i="0" u="none" baseline="0" dirty="0">
              <a:solidFill>
                <a:schemeClr val="bg1"/>
              </a:solidFill>
              <a:latin typeface="Univers Light" panose="020B0403020202020204" pitchFamily="34" charset="0"/>
            </a:endParaRP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CBD8C62B-21FE-CB02-B8F5-F8C758B6253B}"/>
              </a:ext>
            </a:extLst>
          </p:cNvPr>
          <p:cNvSpPr txBox="1"/>
          <p:nvPr/>
        </p:nvSpPr>
        <p:spPr>
          <a:xfrm>
            <a:off x="8646696" y="3851228"/>
            <a:ext cx="17285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gb" sz="2000" b="1" i="0" u="none" baseline="0" dirty="0" err="1">
                <a:solidFill>
                  <a:schemeClr val="bg1"/>
                </a:solidFill>
                <a:latin typeface="+mj-lt"/>
              </a:rPr>
              <a:t>Securiton</a:t>
            </a:r>
            <a:r>
              <a:rPr lang="en-gb" sz="1800" b="1" i="0" u="none" baseline="0" dirty="0">
                <a:solidFill>
                  <a:schemeClr val="bg1"/>
                </a:solidFill>
                <a:latin typeface="+mj-lt"/>
              </a:rPr>
              <a:t> AG</a:t>
            </a:r>
            <a:endParaRPr lang="cs-CZ" sz="1800" b="1" i="0" u="none" baseline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E12F7CA8-BF97-2FC4-974B-17720B5F1B3D}"/>
              </a:ext>
            </a:extLst>
          </p:cNvPr>
          <p:cNvSpPr txBox="1"/>
          <p:nvPr/>
        </p:nvSpPr>
        <p:spPr>
          <a:xfrm>
            <a:off x="8068568" y="4468239"/>
            <a:ext cx="2663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73125" rtl="0" eaLnBrk="0" hangingPunct="0">
              <a:spcBef>
                <a:spcPts val="0"/>
              </a:spcBef>
            </a:pPr>
            <a:r>
              <a:rPr lang="cs-CZ" sz="1800" b="0" i="0" u="none" baseline="0" dirty="0">
                <a:solidFill>
                  <a:schemeClr val="bg1"/>
                </a:solidFill>
                <a:latin typeface="Univers Light" panose="020B0403020202020204" pitchFamily="34" charset="0"/>
              </a:rPr>
              <a:t>Zabezpečovací systémy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BBBF6943-B1E9-203E-7476-166315D9FB37}"/>
              </a:ext>
            </a:extLst>
          </p:cNvPr>
          <p:cNvSpPr txBox="1"/>
          <p:nvPr/>
        </p:nvSpPr>
        <p:spPr>
          <a:xfrm>
            <a:off x="7836589" y="4841404"/>
            <a:ext cx="2898989" cy="361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73125" rtl="0" eaLnBrk="0" hangingPunct="0">
              <a:spcBef>
                <a:spcPts val="0"/>
              </a:spcBef>
            </a:pPr>
            <a:r>
              <a:rPr lang="cs-CZ" sz="1750" b="0" i="0" u="none" baseline="0" dirty="0">
                <a:solidFill>
                  <a:schemeClr val="bg1"/>
                </a:solidFill>
                <a:latin typeface="Univers Light" panose="020B0403020202020204" pitchFamily="34" charset="0"/>
              </a:rPr>
              <a:t>Speciální požární detektory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97A7E02E-A961-8960-C5D8-27C2CE178884}"/>
              </a:ext>
            </a:extLst>
          </p:cNvPr>
          <p:cNvSpPr txBox="1"/>
          <p:nvPr/>
        </p:nvSpPr>
        <p:spPr>
          <a:xfrm>
            <a:off x="1562764" y="5587453"/>
            <a:ext cx="12339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cs-CZ" sz="1800" b="1" i="0" u="none" baseline="0" dirty="0">
                <a:solidFill>
                  <a:srgbClr val="C00000"/>
                </a:solidFill>
              </a:rPr>
              <a:t>Vídeň</a:t>
            </a:r>
            <a:r>
              <a:rPr lang="en-gb" sz="1800" b="1" i="0" u="none" baseline="0" dirty="0">
                <a:solidFill>
                  <a:srgbClr val="C00000"/>
                </a:solidFill>
              </a:rPr>
              <a:t> (A)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A10054A0-B49E-9CF1-588F-F78C9D0C4915}"/>
              </a:ext>
            </a:extLst>
          </p:cNvPr>
          <p:cNvSpPr txBox="1"/>
          <p:nvPr/>
        </p:nvSpPr>
        <p:spPr>
          <a:xfrm>
            <a:off x="4972691" y="5565116"/>
            <a:ext cx="15178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gb" sz="1800" b="1" i="0" u="none" baseline="0" dirty="0" err="1">
                <a:solidFill>
                  <a:srgbClr val="C00000"/>
                </a:solidFill>
              </a:rPr>
              <a:t>Sulzburg</a:t>
            </a:r>
            <a:r>
              <a:rPr lang="en-gb" sz="1800" b="1" i="0" u="none" baseline="0" dirty="0">
                <a:solidFill>
                  <a:srgbClr val="C00000"/>
                </a:solidFill>
              </a:rPr>
              <a:t> (D)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CEB5642D-FE9B-3607-853A-484DA9D45563}"/>
              </a:ext>
            </a:extLst>
          </p:cNvPr>
          <p:cNvSpPr txBox="1"/>
          <p:nvPr/>
        </p:nvSpPr>
        <p:spPr>
          <a:xfrm>
            <a:off x="8292305" y="5587922"/>
            <a:ext cx="18061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gb" sz="1800" b="1" i="0" u="none" baseline="0" dirty="0" err="1">
                <a:solidFill>
                  <a:srgbClr val="C00000"/>
                </a:solidFill>
              </a:rPr>
              <a:t>Zollikofen</a:t>
            </a:r>
            <a:r>
              <a:rPr lang="en-gb" sz="1800" b="1" i="0" u="none" baseline="0" dirty="0">
                <a:solidFill>
                  <a:srgbClr val="C00000"/>
                </a:solidFill>
              </a:rPr>
              <a:t> (CH)</a:t>
            </a:r>
          </a:p>
        </p:txBody>
      </p:sp>
    </p:spTree>
    <p:extLst>
      <p:ext uri="{BB962C8B-B14F-4D97-AF65-F5344CB8AC3E}">
        <p14:creationId xmlns:p14="http://schemas.microsoft.com/office/powerpoint/2010/main" val="1651392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94DBAEBB-0E91-042D-010C-DC62336CE1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883122"/>
            <a:ext cx="5079566" cy="3996980"/>
          </a:xfrm>
        </p:spPr>
        <p:txBody>
          <a:bodyPr/>
          <a:lstStyle/>
          <a:p>
            <a:pPr algn="l"/>
            <a:r>
              <a:rPr lang="pl-PL" sz="2200" b="1" dirty="0">
                <a:latin typeface="Univers Light" panose="020B0403020202020204" pitchFamily="34" charset="0"/>
              </a:rPr>
              <a:t>m</a:t>
            </a:r>
            <a:r>
              <a:rPr lang="pl-PL" sz="2200" b="1" i="0" u="none" strike="noStrike" baseline="0" dirty="0">
                <a:latin typeface="Univers Light" panose="020B0403020202020204" pitchFamily="34" charset="0"/>
              </a:rPr>
              <a:t>aximální dostupnost a rychlé vyhlášení poplachu v každé situaci</a:t>
            </a:r>
          </a:p>
          <a:p>
            <a:pPr algn="l"/>
            <a:r>
              <a:rPr lang="pl-PL" sz="2200" b="1" i="0" u="none" strike="noStrike" baseline="0" dirty="0">
                <a:latin typeface="Univers Light" panose="020B0403020202020204" pitchFamily="34" charset="0"/>
              </a:rPr>
              <a:t>zpětná kompatibilita napříč generacím</a:t>
            </a:r>
          </a:p>
          <a:p>
            <a:pPr algn="l"/>
            <a:r>
              <a:rPr lang="pl-PL" sz="2200" b="1" dirty="0">
                <a:latin typeface="Univers Light" panose="020B0403020202020204" pitchFamily="34" charset="0"/>
              </a:rPr>
              <a:t>i</a:t>
            </a:r>
            <a:r>
              <a:rPr lang="pl-PL" sz="2200" b="1" i="0" u="none" strike="noStrike" baseline="0" dirty="0">
                <a:latin typeface="Univers Light" panose="020B0403020202020204" pitchFamily="34" charset="0"/>
              </a:rPr>
              <a:t>ntuitivní koncept obsluhy</a:t>
            </a:r>
          </a:p>
          <a:p>
            <a:pPr algn="l"/>
            <a:r>
              <a:rPr lang="pl-PL" sz="2200" b="1" dirty="0">
                <a:latin typeface="Univers Light" panose="020B0403020202020204" pitchFamily="34" charset="0"/>
              </a:rPr>
              <a:t>flexibilní síťovatelná architektura</a:t>
            </a:r>
          </a:p>
          <a:p>
            <a:pPr algn="l"/>
            <a:r>
              <a:rPr lang="pl-PL" sz="2200" b="1" dirty="0">
                <a:latin typeface="Univers Light" panose="020B0403020202020204" pitchFamily="34" charset="0"/>
              </a:rPr>
              <a:t>plně redundantní systém</a:t>
            </a:r>
          </a:p>
          <a:p>
            <a:pPr algn="l"/>
            <a:r>
              <a:rPr lang="pl-PL" sz="2200" b="1" dirty="0">
                <a:latin typeface="Univers Light" panose="020B0403020202020204" pitchFamily="34" charset="0"/>
              </a:rPr>
              <a:t>vzdálené ovládání včetně mobilní aplikace</a:t>
            </a:r>
            <a:endParaRPr lang="cs-CZ" sz="2200" b="1" dirty="0">
              <a:latin typeface="Univers Light" panose="020B0403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472494-85ED-4835-956B-FDA2DC1FC3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95F09-154E-4DA4-B343-81FEC9916E9C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2C1B3354-A9DF-A1D6-67A7-4B25440077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894" y="499621"/>
            <a:ext cx="5962348" cy="443352"/>
          </a:xfrm>
        </p:spPr>
        <p:txBody>
          <a:bodyPr/>
          <a:lstStyle/>
          <a:p>
            <a:r>
              <a:rPr lang="cs-CZ" sz="2800" dirty="0"/>
              <a:t>Elektrická požární signalizace </a:t>
            </a:r>
            <a:br>
              <a:rPr lang="cs-CZ" sz="2800" dirty="0"/>
            </a:br>
            <a:r>
              <a:rPr lang="cs-CZ" sz="2800" dirty="0" err="1"/>
              <a:t>Integral</a:t>
            </a:r>
            <a:r>
              <a:rPr lang="cs-CZ" sz="2800" dirty="0"/>
              <a:t> </a:t>
            </a:r>
            <a:r>
              <a:rPr lang="cs-CZ" sz="2800" dirty="0" err="1"/>
              <a:t>EvoxX</a:t>
            </a:r>
            <a:endParaRPr lang="cs-CZ" sz="2800" dirty="0"/>
          </a:p>
        </p:txBody>
      </p:sp>
      <p:pic>
        <p:nvPicPr>
          <p:cNvPr id="6" name="Obrázek 5" descr="Obsah obrázku elektronika, text, červená, design&#10;&#10;Popis byl vytvořen automaticky">
            <a:extLst>
              <a:ext uri="{FF2B5EF4-FFF2-40B4-BE49-F238E27FC236}">
                <a16:creationId xmlns:a16="http://schemas.microsoft.com/office/drawing/2014/main" id="{0464297B-E6EE-E053-9BF3-18C704A0E5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3939" y="1251107"/>
            <a:ext cx="4876800" cy="4628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275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19371876-DDCA-DBE9-79FE-72D8D38D858E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23" r="22023"/>
          <a:stretch/>
        </p:blipFill>
        <p:spPr>
          <a:xfrm>
            <a:off x="7225117" y="11"/>
            <a:ext cx="5345889" cy="6857998"/>
          </a:xfrm>
          <a:prstGeom prst="parallelogram">
            <a:avLst/>
          </a:prstGeom>
        </p:spPr>
      </p:pic>
      <p:sp>
        <p:nvSpPr>
          <p:cNvPr id="28" name="Obdélník 27">
            <a:extLst>
              <a:ext uri="{FF2B5EF4-FFF2-40B4-BE49-F238E27FC236}">
                <a16:creationId xmlns:a16="http://schemas.microsoft.com/office/drawing/2014/main" id="{AF69AD6E-B82A-AEB7-FFDB-E29642F21B2A}"/>
              </a:ext>
            </a:extLst>
          </p:cNvPr>
          <p:cNvSpPr/>
          <p:nvPr/>
        </p:nvSpPr>
        <p:spPr>
          <a:xfrm>
            <a:off x="3771791" y="195320"/>
            <a:ext cx="3293108" cy="9854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0" name="Obrázek 19" descr="Obsah obrázku infrastruktura, silnice, beton, tunel&#10;&#10;Popis byl vytvořen automaticky">
            <a:extLst>
              <a:ext uri="{FF2B5EF4-FFF2-40B4-BE49-F238E27FC236}">
                <a16:creationId xmlns:a16="http://schemas.microsoft.com/office/drawing/2014/main" id="{30799A50-B01A-4177-B7D1-A22DA415F39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22" b="6022"/>
          <a:stretch/>
        </p:blipFill>
        <p:spPr>
          <a:xfrm>
            <a:off x="2783878" y="13"/>
            <a:ext cx="5345889" cy="6857998"/>
          </a:xfrm>
          <a:prstGeom prst="parallelogram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E93FD83F-BC39-C865-9212-DBC7DC6A5388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23" t="6299" r="22023" b="-6299"/>
          <a:stretch/>
        </p:blipFill>
        <p:spPr>
          <a:xfrm>
            <a:off x="7225116" y="2"/>
            <a:ext cx="5345889" cy="6857998"/>
          </a:xfrm>
          <a:prstGeom prst="parallelogram">
            <a:avLst/>
          </a:prstGeom>
        </p:spPr>
      </p:pic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15F976B2-34AF-6BE0-4778-9A85BAD99AF9}"/>
              </a:ext>
            </a:extLst>
          </p:cNvPr>
          <p:cNvSpPr txBox="1">
            <a:spLocks/>
          </p:cNvSpPr>
          <p:nvPr/>
        </p:nvSpPr>
        <p:spPr bwMode="ltGray">
          <a:xfrm>
            <a:off x="2920615" y="5020584"/>
            <a:ext cx="3833058" cy="1121434"/>
          </a:xfrm>
          <a:custGeom>
            <a:avLst/>
            <a:gdLst>
              <a:gd name="connsiteX0" fmla="*/ 0 w 3106178"/>
              <a:gd name="connsiteY0" fmla="*/ 0 h 1121434"/>
              <a:gd name="connsiteX1" fmla="*/ 3106178 w 3106178"/>
              <a:gd name="connsiteY1" fmla="*/ 0 h 1121434"/>
              <a:gd name="connsiteX2" fmla="*/ 3106178 w 3106178"/>
              <a:gd name="connsiteY2" fmla="*/ 1121434 h 1121434"/>
              <a:gd name="connsiteX3" fmla="*/ 0 w 3106178"/>
              <a:gd name="connsiteY3" fmla="*/ 1121434 h 1121434"/>
              <a:gd name="connsiteX4" fmla="*/ 0 w 3106178"/>
              <a:gd name="connsiteY4" fmla="*/ 0 h 1121434"/>
              <a:gd name="connsiteX0" fmla="*/ 0 w 3106178"/>
              <a:gd name="connsiteY0" fmla="*/ 0 h 1121434"/>
              <a:gd name="connsiteX1" fmla="*/ 3106178 w 3106178"/>
              <a:gd name="connsiteY1" fmla="*/ 0 h 1121434"/>
              <a:gd name="connsiteX2" fmla="*/ 2884236 w 3106178"/>
              <a:gd name="connsiteY2" fmla="*/ 1112556 h 1121434"/>
              <a:gd name="connsiteX3" fmla="*/ 0 w 3106178"/>
              <a:gd name="connsiteY3" fmla="*/ 1121434 h 1121434"/>
              <a:gd name="connsiteX4" fmla="*/ 0 w 3106178"/>
              <a:gd name="connsiteY4" fmla="*/ 0 h 1121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6178" h="1121434">
                <a:moveTo>
                  <a:pt x="0" y="0"/>
                </a:moveTo>
                <a:lnTo>
                  <a:pt x="3106178" y="0"/>
                </a:lnTo>
                <a:lnTo>
                  <a:pt x="2884236" y="1112556"/>
                </a:lnTo>
                <a:lnTo>
                  <a:pt x="0" y="11214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74902"/>
            </a:srgbClr>
          </a:solidFill>
          <a:ln>
            <a:noFill/>
          </a:ln>
        </p:spPr>
        <p:txBody>
          <a:bodyPr vert="horz" lIns="108000" tIns="144000" rIns="108000" bIns="144000" rtlCol="0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  <a:lvl2pPr marL="457166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AT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3200" i="0" kern="1200" dirty="0">
                <a:solidFill>
                  <a:srgbClr val="002060"/>
                </a:solidFill>
                <a:latin typeface="+mj-lt"/>
              </a:rPr>
              <a:t> Lineární teplotní kabel LISTEC</a:t>
            </a:r>
            <a:endParaRPr lang="de-DE" sz="1400" i="0" kern="12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B4298F30-8CBD-174A-8965-A0D8F5190F2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414" r="18632"/>
          <a:stretch/>
        </p:blipFill>
        <p:spPr>
          <a:xfrm>
            <a:off x="7225116" y="-11"/>
            <a:ext cx="5345889" cy="6857998"/>
          </a:xfrm>
          <a:prstGeom prst="parallelogram">
            <a:avLst/>
          </a:prstGeom>
        </p:spPr>
      </p:pic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775C803F-7A0E-D097-702F-800D062604E8}"/>
              </a:ext>
            </a:extLst>
          </p:cNvPr>
          <p:cNvSpPr txBox="1">
            <a:spLocks/>
          </p:cNvSpPr>
          <p:nvPr/>
        </p:nvSpPr>
        <p:spPr bwMode="ltGray">
          <a:xfrm>
            <a:off x="7361854" y="5020584"/>
            <a:ext cx="3984434" cy="1130311"/>
          </a:xfrm>
          <a:custGeom>
            <a:avLst/>
            <a:gdLst>
              <a:gd name="connsiteX0" fmla="*/ 0 w 3423724"/>
              <a:gd name="connsiteY0" fmla="*/ 0 h 1121434"/>
              <a:gd name="connsiteX1" fmla="*/ 3423724 w 3423724"/>
              <a:gd name="connsiteY1" fmla="*/ 0 h 1121434"/>
              <a:gd name="connsiteX2" fmla="*/ 3423724 w 3423724"/>
              <a:gd name="connsiteY2" fmla="*/ 1121434 h 1121434"/>
              <a:gd name="connsiteX3" fmla="*/ 0 w 3423724"/>
              <a:gd name="connsiteY3" fmla="*/ 1121434 h 1121434"/>
              <a:gd name="connsiteX4" fmla="*/ 0 w 3423724"/>
              <a:gd name="connsiteY4" fmla="*/ 0 h 1121434"/>
              <a:gd name="connsiteX0" fmla="*/ 207034 w 3630758"/>
              <a:gd name="connsiteY0" fmla="*/ 0 h 1121434"/>
              <a:gd name="connsiteX1" fmla="*/ 3630758 w 3630758"/>
              <a:gd name="connsiteY1" fmla="*/ 0 h 1121434"/>
              <a:gd name="connsiteX2" fmla="*/ 3630758 w 3630758"/>
              <a:gd name="connsiteY2" fmla="*/ 1121434 h 1121434"/>
              <a:gd name="connsiteX3" fmla="*/ 0 w 3630758"/>
              <a:gd name="connsiteY3" fmla="*/ 1121434 h 1121434"/>
              <a:gd name="connsiteX4" fmla="*/ 207034 w 3630758"/>
              <a:gd name="connsiteY4" fmla="*/ 0 h 1121434"/>
              <a:gd name="connsiteX0" fmla="*/ 207034 w 3630758"/>
              <a:gd name="connsiteY0" fmla="*/ 0 h 1130311"/>
              <a:gd name="connsiteX1" fmla="*/ 3630758 w 3630758"/>
              <a:gd name="connsiteY1" fmla="*/ 0 h 1130311"/>
              <a:gd name="connsiteX2" fmla="*/ 3391061 w 3630758"/>
              <a:gd name="connsiteY2" fmla="*/ 1130311 h 1130311"/>
              <a:gd name="connsiteX3" fmla="*/ 0 w 3630758"/>
              <a:gd name="connsiteY3" fmla="*/ 1121434 h 1130311"/>
              <a:gd name="connsiteX4" fmla="*/ 207034 w 3630758"/>
              <a:gd name="connsiteY4" fmla="*/ 0 h 1130311"/>
              <a:gd name="connsiteX0" fmla="*/ 215912 w 3639636"/>
              <a:gd name="connsiteY0" fmla="*/ 0 h 1130311"/>
              <a:gd name="connsiteX1" fmla="*/ 3639636 w 3639636"/>
              <a:gd name="connsiteY1" fmla="*/ 0 h 1130311"/>
              <a:gd name="connsiteX2" fmla="*/ 3399939 w 3639636"/>
              <a:gd name="connsiteY2" fmla="*/ 1130311 h 1130311"/>
              <a:gd name="connsiteX3" fmla="*/ 0 w 3639636"/>
              <a:gd name="connsiteY3" fmla="*/ 1121434 h 1130311"/>
              <a:gd name="connsiteX4" fmla="*/ 215912 w 3639636"/>
              <a:gd name="connsiteY4" fmla="*/ 0 h 1130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636" h="1130311">
                <a:moveTo>
                  <a:pt x="215912" y="0"/>
                </a:moveTo>
                <a:lnTo>
                  <a:pt x="3639636" y="0"/>
                </a:lnTo>
                <a:lnTo>
                  <a:pt x="3399939" y="1130311"/>
                </a:lnTo>
                <a:lnTo>
                  <a:pt x="0" y="1121434"/>
                </a:lnTo>
                <a:lnTo>
                  <a:pt x="215912" y="0"/>
                </a:lnTo>
                <a:close/>
              </a:path>
            </a:pathLst>
          </a:custGeom>
          <a:solidFill>
            <a:srgbClr val="FFFFFF">
              <a:alpha val="74902"/>
            </a:srgbClr>
          </a:solidFill>
          <a:ln>
            <a:noFill/>
          </a:ln>
        </p:spPr>
        <p:txBody>
          <a:bodyPr vert="horz" lIns="108000" tIns="144000" rIns="108000" bIns="144000" rtlCol="0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rgbClr val="E52027"/>
                </a:solidFill>
                <a:latin typeface="+mn-lt"/>
                <a:ea typeface="+mn-ea"/>
                <a:cs typeface="+mn-cs"/>
              </a:defRPr>
            </a:lvl1pPr>
            <a:lvl2pPr marL="457166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8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DE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de-AT"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3200" i="0" kern="1200" dirty="0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cs-CZ" sz="3200" i="0" kern="1200" dirty="0" err="1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+mj-lt"/>
              </a:rPr>
              <a:t>Tepl</a:t>
            </a:r>
            <a:r>
              <a:rPr lang="cs-CZ" sz="3200" i="0" kern="1200" dirty="0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+mj-lt"/>
              </a:rPr>
              <a:t>. radiomet</a:t>
            </a:r>
            <a:r>
              <a:rPr lang="cs-CZ" sz="3200" dirty="0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+mj-lt"/>
              </a:rPr>
              <a:t>rická detekce </a:t>
            </a:r>
            <a:r>
              <a:rPr lang="cs-CZ" sz="3200" dirty="0" err="1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>
                    <a:lumMod val="65000"/>
                  </a:schemeClr>
                </a:solidFill>
                <a:latin typeface="+mj-lt"/>
              </a:rPr>
              <a:t>Mobotix</a:t>
            </a:r>
            <a:endParaRPr lang="de-DE" sz="1400" i="0" kern="1200" dirty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301198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A2D86B0-D941-110F-F9F1-F3077C35A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cs-CZ" dirty="0"/>
              <a:t>Více než 30 let zkušeností s teplotní detekcí požáru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621AA54-EF5A-88AE-DDC6-45B52F1D9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FF95F09-154E-4DA4-B343-81FEC9916E9C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42" name="Zástupný obsah 4">
            <a:extLst>
              <a:ext uri="{FF2B5EF4-FFF2-40B4-BE49-F238E27FC236}">
                <a16:creationId xmlns:a16="http://schemas.microsoft.com/office/drawing/2014/main" id="{07A5FAF9-0F51-4B1C-AF42-1F18F55CE8DC}"/>
              </a:ext>
            </a:extLst>
          </p:cNvPr>
          <p:cNvSpPr txBox="1">
            <a:spLocks/>
          </p:cNvSpPr>
          <p:nvPr/>
        </p:nvSpPr>
        <p:spPr>
          <a:xfrm>
            <a:off x="843894" y="1230818"/>
            <a:ext cx="897296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lang="de-DE"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AT"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000" dirty="0">
                <a:latin typeface="Univers Next W1G" panose="020B0503030202020203" pitchFamily="34" charset="0"/>
              </a:rPr>
              <a:t>individuálně adresovatelné polovodičové snímače teploty umístěné na plochý kabel v různých vzdálenostech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žáruvzdorný plášť se silnou odolností v tahu (kevlar)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mechanicky robustní, nehořlavý a </a:t>
            </a:r>
            <a:r>
              <a:rPr lang="cs-CZ" sz="2000" dirty="0" err="1">
                <a:latin typeface="Univers Next W1G" panose="020B0503030202020203" pitchFamily="34" charset="0"/>
              </a:rPr>
              <a:t>bezhalogenový</a:t>
            </a:r>
            <a:r>
              <a:rPr lang="cs-CZ" sz="2000" dirty="0">
                <a:latin typeface="Univers Next W1G" panose="020B0503030202020203" pitchFamily="34" charset="0"/>
              </a:rPr>
              <a:t> plášť kabelu odolný proti vnějším vlivům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přesnost 0,1K</a:t>
            </a:r>
          </a:p>
        </p:txBody>
      </p:sp>
      <p:pic>
        <p:nvPicPr>
          <p:cNvPr id="43" name="Grafik 17">
            <a:extLst>
              <a:ext uri="{FF2B5EF4-FFF2-40B4-BE49-F238E27FC236}">
                <a16:creationId xmlns:a16="http://schemas.microsoft.com/office/drawing/2014/main" id="{392D5905-C8EA-260C-11CA-9FF9E2FE2B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572"/>
          <a:stretch/>
        </p:blipFill>
        <p:spPr>
          <a:xfrm>
            <a:off x="1577418" y="3425663"/>
            <a:ext cx="4242981" cy="2531586"/>
          </a:xfrm>
          <a:prstGeom prst="rect">
            <a:avLst/>
          </a:prstGeom>
        </p:spPr>
      </p:pic>
      <p:pic>
        <p:nvPicPr>
          <p:cNvPr id="45" name="Grafik 3">
            <a:extLst>
              <a:ext uri="{FF2B5EF4-FFF2-40B4-BE49-F238E27FC236}">
                <a16:creationId xmlns:a16="http://schemas.microsoft.com/office/drawing/2014/main" id="{25F7A944-35C6-745F-202E-54C7F3CBC6D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4582" y="3425663"/>
            <a:ext cx="2700000" cy="2700000"/>
          </a:xfrm>
          <a:prstGeom prst="rect">
            <a:avLst/>
          </a:prstGeom>
        </p:spPr>
      </p:pic>
      <p:pic>
        <p:nvPicPr>
          <p:cNvPr id="60" name="Obrázek 59" descr="Obsah obrázku text, klipart&#10;&#10;Popis byl vytvořen automaticky">
            <a:extLst>
              <a:ext uri="{FF2B5EF4-FFF2-40B4-BE49-F238E27FC236}">
                <a16:creationId xmlns:a16="http://schemas.microsoft.com/office/drawing/2014/main" id="{970F4164-10FA-EB6B-AE93-1BB46F0545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396" y="5724190"/>
            <a:ext cx="2089584" cy="569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542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Rozostřený pohyb dopravy">
            <a:extLst>
              <a:ext uri="{FF2B5EF4-FFF2-40B4-BE49-F238E27FC236}">
                <a16:creationId xmlns:a16="http://schemas.microsoft.com/office/drawing/2014/main" id="{4A482B66-8B3E-680A-2F8E-91E35C0EE8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442" r="3775" b="1"/>
          <a:stretch/>
        </p:blipFill>
        <p:spPr>
          <a:xfrm>
            <a:off x="4900560" y="6245"/>
            <a:ext cx="7291440" cy="6876000"/>
          </a:xfrm>
          <a:custGeom>
            <a:avLst/>
            <a:gdLst>
              <a:gd name="connsiteX0" fmla="*/ 0 w 14983580"/>
              <a:gd name="connsiteY0" fmla="*/ 0 h 13716000"/>
              <a:gd name="connsiteX1" fmla="*/ 14983580 w 14983580"/>
              <a:gd name="connsiteY1" fmla="*/ 0 h 13716000"/>
              <a:gd name="connsiteX2" fmla="*/ 14983580 w 14983580"/>
              <a:gd name="connsiteY2" fmla="*/ 13716000 h 13716000"/>
              <a:gd name="connsiteX3" fmla="*/ 0 w 14983580"/>
              <a:gd name="connsiteY3" fmla="*/ 13716000 h 13716000"/>
              <a:gd name="connsiteX4" fmla="*/ 0 w 14983580"/>
              <a:gd name="connsiteY4" fmla="*/ 0 h 13716000"/>
              <a:gd name="connsiteX0" fmla="*/ 6415790 w 14983580"/>
              <a:gd name="connsiteY0" fmla="*/ 0 h 13730990"/>
              <a:gd name="connsiteX1" fmla="*/ 14983580 w 14983580"/>
              <a:gd name="connsiteY1" fmla="*/ 14990 h 13730990"/>
              <a:gd name="connsiteX2" fmla="*/ 14983580 w 14983580"/>
              <a:gd name="connsiteY2" fmla="*/ 13730990 h 13730990"/>
              <a:gd name="connsiteX3" fmla="*/ 0 w 14983580"/>
              <a:gd name="connsiteY3" fmla="*/ 13730990 h 13730990"/>
              <a:gd name="connsiteX4" fmla="*/ 6415790 w 14983580"/>
              <a:gd name="connsiteY4" fmla="*/ 0 h 13730990"/>
              <a:gd name="connsiteX0" fmla="*/ 6817788 w 15385578"/>
              <a:gd name="connsiteY0" fmla="*/ 0 h 13730990"/>
              <a:gd name="connsiteX1" fmla="*/ 15385578 w 15385578"/>
              <a:gd name="connsiteY1" fmla="*/ 14990 h 13730990"/>
              <a:gd name="connsiteX2" fmla="*/ 15385578 w 15385578"/>
              <a:gd name="connsiteY2" fmla="*/ 13730990 h 13730990"/>
              <a:gd name="connsiteX3" fmla="*/ 0 w 15385578"/>
              <a:gd name="connsiteY3" fmla="*/ 13730990 h 13730990"/>
              <a:gd name="connsiteX4" fmla="*/ 6817788 w 15385578"/>
              <a:gd name="connsiteY4" fmla="*/ 0 h 13730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5578" h="13730990">
                <a:moveTo>
                  <a:pt x="6817788" y="0"/>
                </a:moveTo>
                <a:lnTo>
                  <a:pt x="15385578" y="14990"/>
                </a:lnTo>
                <a:lnTo>
                  <a:pt x="15385578" y="13730990"/>
                </a:lnTo>
                <a:lnTo>
                  <a:pt x="0" y="13730990"/>
                </a:lnTo>
                <a:lnTo>
                  <a:pt x="6817788" y="0"/>
                </a:lnTo>
                <a:close/>
              </a:path>
            </a:pathLst>
          </a:custGeom>
          <a:noFill/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C17C10E8-B43D-F766-C3A4-D93A27559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3894" y="499620"/>
            <a:ext cx="10496550" cy="811943"/>
          </a:xfrm>
        </p:spPr>
        <p:txBody>
          <a:bodyPr anchor="t">
            <a:normAutofit fontScale="90000"/>
          </a:bodyPr>
          <a:lstStyle/>
          <a:p>
            <a:r>
              <a:rPr lang="cs-CZ" dirty="0"/>
              <a:t>Rychlá a spolehlivá detekce s nízkými </a:t>
            </a:r>
            <a:br>
              <a:rPr lang="cs-CZ" dirty="0"/>
            </a:br>
            <a:r>
              <a:rPr lang="cs-CZ" dirty="0"/>
              <a:t>náklady na údržbu a servis.</a:t>
            </a:r>
            <a:br>
              <a:rPr lang="cs-CZ" dirty="0"/>
            </a:b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08FD7DD-34DA-EB75-B750-2CDC4B5B5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FF95F09-154E-4DA4-B343-81FEC9916E9C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13" name="Zástupný text 12">
            <a:extLst>
              <a:ext uri="{FF2B5EF4-FFF2-40B4-BE49-F238E27FC236}">
                <a16:creationId xmlns:a16="http://schemas.microsoft.com/office/drawing/2014/main" id="{46C422CA-2071-B49D-A314-B0783B6399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44550" y="1465263"/>
            <a:ext cx="4897344" cy="4500562"/>
          </a:xfrm>
        </p:spPr>
        <p:txBody>
          <a:bodyPr>
            <a:normAutofit/>
          </a:bodyPr>
          <a:lstStyle/>
          <a:p>
            <a:r>
              <a:rPr lang="cs-CZ" sz="2000" dirty="0">
                <a:latin typeface="Univers Next W1G" panose="020B0503030202020203" pitchFamily="34" charset="0"/>
              </a:rPr>
              <a:t>provoz bez nutnosti pravidelné kalibrace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bez servisních nákladů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jednoduché napojení kabelu bez degradace přenosových vlastností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možnost větvení detekčního vedení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individuální adresace a parametrizace každého senzoru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volitelná vzdálenost jednotlivých senzorů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lokální senzory - předmětová detekce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až 3,2km bez přerušení vedení</a:t>
            </a:r>
          </a:p>
          <a:p>
            <a:r>
              <a:rPr lang="cs-CZ" sz="2000" dirty="0">
                <a:latin typeface="Univers Next W1G" panose="020B0503030202020203" pitchFamily="34" charset="0"/>
              </a:rPr>
              <a:t>integrace </a:t>
            </a:r>
            <a:r>
              <a:rPr lang="cs-CZ" sz="2000" dirty="0" err="1">
                <a:latin typeface="Univers Next W1G" panose="020B0503030202020203" pitchFamily="34" charset="0"/>
              </a:rPr>
              <a:t>ModBus</a:t>
            </a:r>
            <a:r>
              <a:rPr lang="cs-CZ" sz="2000" dirty="0">
                <a:latin typeface="Univers Next W1G" panose="020B0503030202020203" pitchFamily="34" charset="0"/>
              </a:rPr>
              <a:t> protokolu</a:t>
            </a:r>
          </a:p>
          <a:p>
            <a:endParaRPr lang="cs-CZ" dirty="0">
              <a:latin typeface="Univers Next W1G" panose="020B0503030202020203" pitchFamily="34" charset="0"/>
            </a:endParaRPr>
          </a:p>
          <a:p>
            <a:endParaRPr lang="cs-CZ" dirty="0">
              <a:latin typeface="Univers Next W1G" panose="020B0503030202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59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14285C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LANG_DEF" val="2057"/>
  <p:tag name="LANG_NAME" val="English UK"/>
  <p:tag name="MASTCOUNT" val="2"/>
  <p:tag name="DES1LAYOUTCOUNT" val="24"/>
  <p:tag name="DES2LAYOUTCOUNT" val="27"/>
  <p:tag name="LINGO_COUNT" val="5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Schrack_Seconet">
  <a:themeElements>
    <a:clrScheme name="Schrack_Seconet">
      <a:dk1>
        <a:srgbClr val="000000"/>
      </a:dk1>
      <a:lt1>
        <a:srgbClr val="FFFFFF"/>
      </a:lt1>
      <a:dk2>
        <a:srgbClr val="14285C"/>
      </a:dk2>
      <a:lt2>
        <a:srgbClr val="DADADE"/>
      </a:lt2>
      <a:accent1>
        <a:srgbClr val="14285C"/>
      </a:accent1>
      <a:accent2>
        <a:srgbClr val="4F5E85"/>
      </a:accent2>
      <a:accent3>
        <a:srgbClr val="717E9D"/>
      </a:accent3>
      <a:accent4>
        <a:srgbClr val="C21E20"/>
      </a:accent4>
      <a:accent5>
        <a:srgbClr val="E52027"/>
      </a:accent5>
      <a:accent6>
        <a:srgbClr val="EF797E"/>
      </a:accent6>
      <a:hlink>
        <a:srgbClr val="14285C"/>
      </a:hlink>
      <a:folHlink>
        <a:srgbClr val="14285B"/>
      </a:folHlink>
    </a:clrScheme>
    <a:fontScheme name="Univers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ctr">
          <a:defRPr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Dunkelblau + 20 Schwarz">
      <a:srgbClr val="0E1B46"/>
    </a:custClr>
    <a:custClr name="Dunkelblau + 10 Schwarz">
      <a:srgbClr val="122251"/>
    </a:custClr>
    <a:custClr name="Dunkelblau 90 Prozent">
      <a:srgbClr val="2C3D6D"/>
    </a:custClr>
    <a:custClr name="Rot + 20 Schwarz">
      <a:srgbClr val="C21E20"/>
    </a:custClr>
    <a:custClr name="Rot + 10 Schwarz">
      <a:srgbClr val="D31F24"/>
    </a:custClr>
    <a:custClr name="Rot 90 Prozent">
      <a:srgbClr val="E8363D"/>
    </a:custClr>
    <a:custClr name="Grau ">
      <a:srgbClr val="9495A0"/>
    </a:custClr>
    <a:custClr name="Grau +20 Schwarz">
      <a:srgbClr val="73747C"/>
    </a:custClr>
    <a:custClr name="Grau +10 Schwarz">
      <a:srgbClr val="84858E"/>
    </a:custClr>
    <a:custClr name="Grau 90 Prozent">
      <a:srgbClr val="9FA0A9"/>
    </a:custClr>
    <a:custClr name="Grau 75 Prozent">
      <a:srgbClr val="AFAFB8"/>
    </a:custClr>
    <a:custClr name="Grau 60 Prozent">
      <a:srgbClr val="BFBFC6"/>
    </a:custClr>
    <a:custClr name="Grau 50 Prozent">
      <a:srgbClr val="CACACF"/>
    </a:custClr>
    <a:custClr name="Grau 35 Prozent">
      <a:srgbClr val="DADADE"/>
    </a:custClr>
    <a:custClr name="Grau 20 Prozent">
      <a:srgbClr val="EAEAEC"/>
    </a:custClr>
  </a:custClrLst>
  <a:extLst>
    <a:ext uri="{05A4C25C-085E-4340-85A3-A5531E510DB2}">
      <thm15:themeFamily xmlns:thm15="http://schemas.microsoft.com/office/thememl/2012/main" name="02_Mastertemplate_EN_Schrack_Seconet_Instructions.potx" id="{196CCF0E-A926-411E-9FEA-668D9A9A895A}" vid="{23B2D7E9-8447-4BEF-B136-FEE5D51CC4C4}"/>
    </a:ext>
  </a:extLst>
</a:theme>
</file>

<file path=ppt/theme/theme2.xml><?xml version="1.0" encoding="utf-8"?>
<a:theme xmlns:a="http://schemas.openxmlformats.org/drawingml/2006/main" name="Schrack Seconet Varianten ohne S">
  <a:themeElements>
    <a:clrScheme name="Schrack_Seconet">
      <a:dk1>
        <a:srgbClr val="14285C"/>
      </a:dk1>
      <a:lt1>
        <a:srgbClr val="FFFFFF"/>
      </a:lt1>
      <a:dk2>
        <a:srgbClr val="14285C"/>
      </a:dk2>
      <a:lt2>
        <a:srgbClr val="DADADE"/>
      </a:lt2>
      <a:accent1>
        <a:srgbClr val="14285C"/>
      </a:accent1>
      <a:accent2>
        <a:srgbClr val="4F5E85"/>
      </a:accent2>
      <a:accent3>
        <a:srgbClr val="717E9D"/>
      </a:accent3>
      <a:accent4>
        <a:srgbClr val="C21E20"/>
      </a:accent4>
      <a:accent5>
        <a:srgbClr val="E52027"/>
      </a:accent5>
      <a:accent6>
        <a:srgbClr val="EF797E"/>
      </a:accent6>
      <a:hlink>
        <a:srgbClr val="14285C"/>
      </a:hlink>
      <a:folHlink>
        <a:srgbClr val="14285B"/>
      </a:folHlink>
    </a:clrScheme>
    <a:fontScheme name="Univers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Blue +20 Schwarz">
      <a:srgbClr val="0E1B46"/>
    </a:custClr>
    <a:custClr name="Dark Blue + 10 Schwarz">
      <a:srgbClr val="122251"/>
    </a:custClr>
    <a:custClr name="Dark Blue 90 Prozent">
      <a:srgbClr val="2C3D6D"/>
    </a:custClr>
    <a:custClr name="Red +20 Schwarz">
      <a:srgbClr val="C21E20"/>
    </a:custClr>
    <a:custClr name="Red + 10 Schwarz">
      <a:srgbClr val="D31F24"/>
    </a:custClr>
    <a:custClr name="Red 90 Prozent">
      <a:srgbClr val="E8363D"/>
    </a:custClr>
    <a:custClr name="Grey">
      <a:srgbClr val="9495A0"/>
    </a:custClr>
    <a:custClr name="Grey +20 Schwarz">
      <a:srgbClr val="73747C"/>
    </a:custClr>
    <a:custClr name="Grey +10 Schwarz">
      <a:srgbClr val="84858E"/>
    </a:custClr>
    <a:custClr name="Grey 90 Prozent">
      <a:srgbClr val="9FA0A9"/>
    </a:custClr>
    <a:custClr name="Grey 75 Prozent">
      <a:srgbClr val="AFAFB8"/>
    </a:custClr>
    <a:custClr name="Grey 60 Prozent">
      <a:srgbClr val="BFBFC6"/>
    </a:custClr>
    <a:custClr name="Grey 50 Prozent">
      <a:srgbClr val="CACACF"/>
    </a:custClr>
    <a:custClr name="Grey 35 Prozent">
      <a:srgbClr val="DADADE"/>
    </a:custClr>
    <a:custClr name="Grey 20 Prozent">
      <a:srgbClr val="EAEAEC"/>
    </a:custClr>
  </a:custClrLst>
  <a:extLst>
    <a:ext uri="{05A4C25C-085E-4340-85A3-A5531E510DB2}">
      <thm15:themeFamily xmlns:thm15="http://schemas.microsoft.com/office/thememl/2012/main" name="02_Mastertemplate_EN_Schrack_Seconet_Instructions.potx" id="{196CCF0E-A926-411E-9FEA-668D9A9A895A}" vid="{886CD7B5-5FE8-4A3B-A688-1F3B3FF34A68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Schrack Seconet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Schrack Seconet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ZS_skoleni</Template>
  <TotalTime>9330</TotalTime>
  <Words>614</Words>
  <Application>Microsoft Macintosh PowerPoint</Application>
  <PresentationFormat>Širokoúhlá obrazovka</PresentationFormat>
  <Paragraphs>164</Paragraphs>
  <Slides>24</Slides>
  <Notes>7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24</vt:i4>
      </vt:variant>
    </vt:vector>
  </HeadingPairs>
  <TitlesOfParts>
    <vt:vector size="31" baseType="lpstr">
      <vt:lpstr>Univers Next W1G</vt:lpstr>
      <vt:lpstr>Aptos</vt:lpstr>
      <vt:lpstr>Arial</vt:lpstr>
      <vt:lpstr>Univers Light</vt:lpstr>
      <vt:lpstr>Univers</vt:lpstr>
      <vt:lpstr>Schrack_Seconet</vt:lpstr>
      <vt:lpstr>Schrack Seconet Varianten ohne S</vt:lpstr>
      <vt:lpstr>Elektrická požární signalizace</vt:lpstr>
      <vt:lpstr>Prezentace aplikace PowerPoint</vt:lpstr>
      <vt:lpstr>Milníky</vt:lpstr>
      <vt:lpstr>Naše společnost v číslech | 2024</vt:lpstr>
      <vt:lpstr>Kompetenční centra – Securitas Group Switzerland</vt:lpstr>
      <vt:lpstr>Elektrická požární signalizace  Integral EvoxX</vt:lpstr>
      <vt:lpstr>Prezentace aplikace PowerPoint</vt:lpstr>
      <vt:lpstr>Více než 30 let zkušeností s teplotní detekcí požáru</vt:lpstr>
      <vt:lpstr>Rychlá a spolehlivá detekce s nízkými  náklady na údržbu a servis. </vt:lpstr>
      <vt:lpstr>Požární ochrana fotovoltaických systémů</vt:lpstr>
      <vt:lpstr>Kombinace požární ochrany a efektivity fotovoltaiky</vt:lpstr>
      <vt:lpstr>Oblasti využití kabelu LISTEC</vt:lpstr>
      <vt:lpstr>Prezentace aplikace PowerPoint</vt:lpstr>
      <vt:lpstr>MOBOTIX</vt:lpstr>
      <vt:lpstr>Příklad použití v odpadovém hospodářství</vt:lpstr>
      <vt:lpstr>Detekce ohniska požáru v náročném prostředí</vt:lpstr>
      <vt:lpstr>Monitoring nabíjení autobusů MHD</vt:lpstr>
      <vt:lpstr>TESLA Megapack 3,9 MWh  monitoring provozních teplot lithiových baterií</vt:lpstr>
      <vt:lpstr>Monitor celého životního cyklu baterií</vt:lpstr>
      <vt:lpstr>Monitoring FVE</vt:lpstr>
      <vt:lpstr>Integral Mobile</vt:lpstr>
      <vt:lpstr>Kontakty</vt:lpstr>
      <vt:lpstr>Máte dotaz?</vt:lpstr>
      <vt:lpstr>Prezentace aplikace PowerPoin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uzový zvukový systém Aprosys</dc:title>
  <dc:creator>Jan Čečrdle, Schrack Seconet AG, Sales &amp; Technical Support – Czech Republic</dc:creator>
  <cp:lastModifiedBy>Jan Čečrdle, Schrack Seconet AG, Sales &amp; Technical Support – Czech Republic</cp:lastModifiedBy>
  <cp:revision>92</cp:revision>
  <dcterms:created xsi:type="dcterms:W3CDTF">2023-03-20T10:59:11Z</dcterms:created>
  <dcterms:modified xsi:type="dcterms:W3CDTF">2024-04-09T08:07:12Z</dcterms:modified>
</cp:coreProperties>
</file>